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tmp" ContentType="image/p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6"/>
    <p:sldMasterId id="2147483742" r:id="rId7"/>
  </p:sldMasterIdLst>
  <p:notesMasterIdLst>
    <p:notesMasterId r:id="rId30"/>
  </p:notesMasterIdLst>
  <p:handoutMasterIdLst>
    <p:handoutMasterId r:id="rId31"/>
  </p:handoutMasterIdLst>
  <p:sldIdLst>
    <p:sldId id="267" r:id="rId8"/>
    <p:sldId id="2147374054" r:id="rId9"/>
    <p:sldId id="273" r:id="rId10"/>
    <p:sldId id="286" r:id="rId11"/>
    <p:sldId id="269" r:id="rId12"/>
    <p:sldId id="2147374051" r:id="rId13"/>
    <p:sldId id="2147374020" r:id="rId14"/>
    <p:sldId id="2147374045" r:id="rId15"/>
    <p:sldId id="289" r:id="rId16"/>
    <p:sldId id="278" r:id="rId17"/>
    <p:sldId id="2147374052" r:id="rId18"/>
    <p:sldId id="283" r:id="rId19"/>
    <p:sldId id="279" r:id="rId20"/>
    <p:sldId id="2147374053" r:id="rId21"/>
    <p:sldId id="2147374037" r:id="rId22"/>
    <p:sldId id="292" r:id="rId23"/>
    <p:sldId id="282" r:id="rId24"/>
    <p:sldId id="2147374034" r:id="rId25"/>
    <p:sldId id="288" r:id="rId26"/>
    <p:sldId id="284" r:id="rId27"/>
    <p:sldId id="257" r:id="rId28"/>
    <p:sldId id="2147374055" r:id="rId29"/>
  </p:sldIdLst>
  <p:sldSz cx="12192000" cy="6858000"/>
  <p:notesSz cx="6858000" cy="9144000"/>
  <p:custDataLst>
    <p:tags r:id="rId32"/>
  </p:custDataLst>
  <p:defaultTextStyle>
    <a:defPPr>
      <a:defRPr lang="en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9CC094B2-26DB-4E14-B57D-BFE93F707FF8}">
          <p14:sldIdLst>
            <p14:sldId id="267"/>
            <p14:sldId id="2147374054"/>
            <p14:sldId id="273"/>
            <p14:sldId id="286"/>
            <p14:sldId id="269"/>
            <p14:sldId id="2147374051"/>
            <p14:sldId id="2147374020"/>
            <p14:sldId id="2147374045"/>
            <p14:sldId id="289"/>
            <p14:sldId id="278"/>
            <p14:sldId id="2147374052"/>
            <p14:sldId id="283"/>
            <p14:sldId id="279"/>
            <p14:sldId id="2147374053"/>
            <p14:sldId id="2147374037"/>
            <p14:sldId id="292"/>
            <p14:sldId id="282"/>
            <p14:sldId id="2147374034"/>
            <p14:sldId id="288"/>
            <p14:sldId id="284"/>
            <p14:sldId id="257"/>
          </p14:sldIdLst>
        </p14:section>
        <p14:section name="Appendix" id="{EFC239C0-A68C-4527-B4CA-007684C2550B}">
          <p14:sldIdLst>
            <p14:sldId id="214737405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trik Rugeland [E///]" initials="P" lastIdx="1" clrIdx="0">
    <p:extLst>
      <p:ext uri="{19B8F6BF-5375-455C-9EA6-DF929625EA0E}">
        <p15:presenceInfo xmlns:p15="http://schemas.microsoft.com/office/powerpoint/2012/main" userId="Patrik Rugeland [E///]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D75"/>
    <a:srgbClr val="BA61A4"/>
    <a:srgbClr val="DE0000"/>
    <a:srgbClr val="F2F2F2"/>
    <a:srgbClr val="FFFF00"/>
    <a:srgbClr val="00B050"/>
    <a:srgbClr val="4472C4"/>
    <a:srgbClr val="F4C3BC"/>
    <a:srgbClr val="0C568B"/>
    <a:srgbClr val="E169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E9C608B-EB90-456A-BCED-A81335046B25}" v="16" dt="2022-04-28T06:35:34.87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115" autoAdjust="0"/>
  </p:normalViewPr>
  <p:slideViewPr>
    <p:cSldViewPr snapToGrid="0">
      <p:cViewPr varScale="1">
        <p:scale>
          <a:sx n="104" d="100"/>
          <a:sy n="104" d="100"/>
        </p:scale>
        <p:origin x="83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microsoft.com/office/2015/10/relationships/revisionInfo" Target="revisionInfo.xml"/><Relationship Id="rId21" Type="http://schemas.openxmlformats.org/officeDocument/2006/relationships/slide" Target="slides/slide14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2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commentAuthors" Target="commentAuthors.xml"/><Relationship Id="rId38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notesMaster" Target="notesMasters/notesMaster1.xml"/><Relationship Id="rId35" Type="http://schemas.openxmlformats.org/officeDocument/2006/relationships/viewProps" Target="viewProps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icherzhagen, Bjoern (T CED WLN-DE)" userId="1be7a072-4164-461c-b9ed-ae3c5d97c1a8" providerId="ADAL" clId="{A27AFCC7-D8F6-44BC-A001-AAF1884E580A}"/>
    <pc:docChg chg="undo redo custSel addSld delSld modSld sldOrd modMainMaster addSection modSection replTag">
      <pc:chgData name="Richerzhagen, Bjoern (T CED WLN-DE)" userId="1be7a072-4164-461c-b9ed-ae3c5d97c1a8" providerId="ADAL" clId="{A27AFCC7-D8F6-44BC-A001-AAF1884E580A}" dt="2022-03-08T12:14:39.883" v="38787" actId="20578"/>
      <pc:docMkLst>
        <pc:docMk/>
      </pc:docMkLst>
      <pc:sldChg chg="mod chgLayout modNotes">
        <pc:chgData name="Richerzhagen, Bjoern (T CED WLN-DE)" userId="1be7a072-4164-461c-b9ed-ae3c5d97c1a8" providerId="ADAL" clId="{A27AFCC7-D8F6-44BC-A001-AAF1884E580A}" dt="2022-03-02T12:56:14.986" v="12794" actId="790"/>
        <pc:sldMkLst>
          <pc:docMk/>
          <pc:sldMk cId="2642568594" sldId="257"/>
        </pc:sldMkLst>
      </pc:sldChg>
      <pc:sldChg chg="modSp mod modNotes modNotesTx">
        <pc:chgData name="Richerzhagen, Bjoern (T CED WLN-DE)" userId="1be7a072-4164-461c-b9ed-ae3c5d97c1a8" providerId="ADAL" clId="{A27AFCC7-D8F6-44BC-A001-AAF1884E580A}" dt="2022-03-08T12:02:18.372" v="38728" actId="20577"/>
        <pc:sldMkLst>
          <pc:docMk/>
          <pc:sldMk cId="3777763534" sldId="267"/>
        </pc:sldMkLst>
        <pc:spChg chg="mod">
          <ac:chgData name="Richerzhagen, Bjoern (T CED WLN-DE)" userId="1be7a072-4164-461c-b9ed-ae3c5d97c1a8" providerId="ADAL" clId="{A27AFCC7-D8F6-44BC-A001-AAF1884E580A}" dt="2022-03-03T12:32:18.879" v="16350" actId="20577"/>
          <ac:spMkLst>
            <pc:docMk/>
            <pc:sldMk cId="3777763534" sldId="267"/>
            <ac:spMk id="7" creationId="{CCE93626-6E4C-DB42-A87E-4C7742B5A9D2}"/>
          </ac:spMkLst>
        </pc:spChg>
        <pc:spChg chg="mod">
          <ac:chgData name="Richerzhagen, Bjoern (T CED WLN-DE)" userId="1be7a072-4164-461c-b9ed-ae3c5d97c1a8" providerId="ADAL" clId="{A27AFCC7-D8F6-44BC-A001-AAF1884E580A}" dt="2022-03-02T08:36:49.904" v="11900" actId="20577"/>
          <ac:spMkLst>
            <pc:docMk/>
            <pc:sldMk cId="3777763534" sldId="267"/>
            <ac:spMk id="8" creationId="{6AE550FA-C9EA-6042-8AD3-0E59B6EA330B}"/>
          </ac:spMkLst>
        </pc:spChg>
        <pc:spChg chg="mod">
          <ac:chgData name="Richerzhagen, Bjoern (T CED WLN-DE)" userId="1be7a072-4164-461c-b9ed-ae3c5d97c1a8" providerId="ADAL" clId="{A27AFCC7-D8F6-44BC-A001-AAF1884E580A}" dt="2022-03-08T08:56:16.490" v="23499" actId="20577"/>
          <ac:spMkLst>
            <pc:docMk/>
            <pc:sldMk cId="3777763534" sldId="267"/>
            <ac:spMk id="9" creationId="{8ACF1BF1-E518-0E44-BCCB-775773554653}"/>
          </ac:spMkLst>
        </pc:spChg>
      </pc:sldChg>
      <pc:sldChg chg="addSp delSp modSp del mod ord modShow">
        <pc:chgData name="Richerzhagen, Bjoern (T CED WLN-DE)" userId="1be7a072-4164-461c-b9ed-ae3c5d97c1a8" providerId="ADAL" clId="{A27AFCC7-D8F6-44BC-A001-AAF1884E580A}" dt="2022-02-28T10:46:55.711" v="4181" actId="47"/>
        <pc:sldMkLst>
          <pc:docMk/>
          <pc:sldMk cId="3373346588" sldId="268"/>
        </pc:sldMkLst>
        <pc:picChg chg="add mod">
          <ac:chgData name="Richerzhagen, Bjoern (T CED WLN-DE)" userId="1be7a072-4164-461c-b9ed-ae3c5d97c1a8" providerId="ADAL" clId="{A27AFCC7-D8F6-44BC-A001-AAF1884E580A}" dt="2022-02-25T07:54:33.675" v="3560" actId="1076"/>
          <ac:picMkLst>
            <pc:docMk/>
            <pc:sldMk cId="3373346588" sldId="268"/>
            <ac:picMk id="3" creationId="{6F03AF43-3E33-4DC1-8D51-1A3D05DDEFA8}"/>
          </ac:picMkLst>
        </pc:picChg>
        <pc:picChg chg="add del mod">
          <ac:chgData name="Richerzhagen, Bjoern (T CED WLN-DE)" userId="1be7a072-4164-461c-b9ed-ae3c5d97c1a8" providerId="ADAL" clId="{A27AFCC7-D8F6-44BC-A001-AAF1884E580A}" dt="2022-02-25T07:54:31.053" v="3559" actId="478"/>
          <ac:picMkLst>
            <pc:docMk/>
            <pc:sldMk cId="3373346588" sldId="268"/>
            <ac:picMk id="5" creationId="{CBCB5578-9EC2-4389-86A3-E6057B3F5FF2}"/>
          </ac:picMkLst>
        </pc:picChg>
        <pc:picChg chg="add del mod">
          <ac:chgData name="Richerzhagen, Bjoern (T CED WLN-DE)" userId="1be7a072-4164-461c-b9ed-ae3c5d97c1a8" providerId="ADAL" clId="{A27AFCC7-D8F6-44BC-A001-AAF1884E580A}" dt="2022-02-25T07:54:29.803" v="3557" actId="478"/>
          <ac:picMkLst>
            <pc:docMk/>
            <pc:sldMk cId="3373346588" sldId="268"/>
            <ac:picMk id="7" creationId="{395C2CED-DBDA-4F41-9A48-E964D13C411C}"/>
          </ac:picMkLst>
        </pc:picChg>
        <pc:picChg chg="add del mod">
          <ac:chgData name="Richerzhagen, Bjoern (T CED WLN-DE)" userId="1be7a072-4164-461c-b9ed-ae3c5d97c1a8" providerId="ADAL" clId="{A27AFCC7-D8F6-44BC-A001-AAF1884E580A}" dt="2022-02-25T07:54:30.505" v="3558" actId="478"/>
          <ac:picMkLst>
            <pc:docMk/>
            <pc:sldMk cId="3373346588" sldId="268"/>
            <ac:picMk id="9" creationId="{3D9EF617-BDBE-4CEE-9395-DFE43EF6F02D}"/>
          </ac:picMkLst>
        </pc:picChg>
      </pc:sldChg>
      <pc:sldChg chg="del">
        <pc:chgData name="Richerzhagen, Bjoern (T CED WLN-DE)" userId="1be7a072-4164-461c-b9ed-ae3c5d97c1a8" providerId="ADAL" clId="{A27AFCC7-D8F6-44BC-A001-AAF1884E580A}" dt="2022-02-28T10:48:11.462" v="4187" actId="47"/>
        <pc:sldMkLst>
          <pc:docMk/>
          <pc:sldMk cId="612618692" sldId="269"/>
        </pc:sldMkLst>
      </pc:sldChg>
      <pc:sldChg chg="addSp delSp modSp mod ord modShow modNotes">
        <pc:chgData name="Richerzhagen, Bjoern (T CED WLN-DE)" userId="1be7a072-4164-461c-b9ed-ae3c5d97c1a8" providerId="ADAL" clId="{A27AFCC7-D8F6-44BC-A001-AAF1884E580A}" dt="2022-03-02T12:56:15.063" v="12804" actId="790"/>
        <pc:sldMkLst>
          <pc:docMk/>
          <pc:sldMk cId="3305116576" sldId="270"/>
        </pc:sldMkLst>
        <pc:spChg chg="del">
          <ac:chgData name="Richerzhagen, Bjoern (T CED WLN-DE)" userId="1be7a072-4164-461c-b9ed-ae3c5d97c1a8" providerId="ADAL" clId="{A27AFCC7-D8F6-44BC-A001-AAF1884E580A}" dt="2022-02-25T07:18:59.895" v="1248" actId="478"/>
          <ac:spMkLst>
            <pc:docMk/>
            <pc:sldMk cId="3305116576" sldId="270"/>
            <ac:spMk id="6" creationId="{27F1478C-E025-4834-B00D-3ADC5CD7EFC2}"/>
          </ac:spMkLst>
        </pc:spChg>
        <pc:spChg chg="del">
          <ac:chgData name="Richerzhagen, Bjoern (T CED WLN-DE)" userId="1be7a072-4164-461c-b9ed-ae3c5d97c1a8" providerId="ADAL" clId="{A27AFCC7-D8F6-44BC-A001-AAF1884E580A}" dt="2022-02-25T07:18:59.895" v="1248" actId="478"/>
          <ac:spMkLst>
            <pc:docMk/>
            <pc:sldMk cId="3305116576" sldId="270"/>
            <ac:spMk id="7" creationId="{C9779624-A997-4BA0-A910-2C7E82C614B0}"/>
          </ac:spMkLst>
        </pc:spChg>
        <pc:spChg chg="del">
          <ac:chgData name="Richerzhagen, Bjoern (T CED WLN-DE)" userId="1be7a072-4164-461c-b9ed-ae3c5d97c1a8" providerId="ADAL" clId="{A27AFCC7-D8F6-44BC-A001-AAF1884E580A}" dt="2022-02-25T07:18:59.895" v="1248" actId="478"/>
          <ac:spMkLst>
            <pc:docMk/>
            <pc:sldMk cId="3305116576" sldId="270"/>
            <ac:spMk id="8" creationId="{CE7B99A9-C1C6-458E-B905-3625A3875A6B}"/>
          </ac:spMkLst>
        </pc:spChg>
        <pc:grpChg chg="del">
          <ac:chgData name="Richerzhagen, Bjoern (T CED WLN-DE)" userId="1be7a072-4164-461c-b9ed-ae3c5d97c1a8" providerId="ADAL" clId="{A27AFCC7-D8F6-44BC-A001-AAF1884E580A}" dt="2022-02-25T07:18:58.156" v="1247" actId="478"/>
          <ac:grpSpMkLst>
            <pc:docMk/>
            <pc:sldMk cId="3305116576" sldId="270"/>
            <ac:grpSpMk id="9" creationId="{9DF7C28F-16DA-4C25-962E-7DFAC6B422AC}"/>
          </ac:grpSpMkLst>
        </pc:grpChg>
        <pc:grpChg chg="del">
          <ac:chgData name="Richerzhagen, Bjoern (T CED WLN-DE)" userId="1be7a072-4164-461c-b9ed-ae3c5d97c1a8" providerId="ADAL" clId="{A27AFCC7-D8F6-44BC-A001-AAF1884E580A}" dt="2022-02-25T07:18:59.895" v="1248" actId="478"/>
          <ac:grpSpMkLst>
            <pc:docMk/>
            <pc:sldMk cId="3305116576" sldId="270"/>
            <ac:grpSpMk id="17" creationId="{76651865-E71C-4AEF-B336-EF75644911D7}"/>
          </ac:grpSpMkLst>
        </pc:grpChg>
        <pc:grpChg chg="del">
          <ac:chgData name="Richerzhagen, Bjoern (T CED WLN-DE)" userId="1be7a072-4164-461c-b9ed-ae3c5d97c1a8" providerId="ADAL" clId="{A27AFCC7-D8F6-44BC-A001-AAF1884E580A}" dt="2022-02-25T07:19:01.653" v="1250" actId="478"/>
          <ac:grpSpMkLst>
            <pc:docMk/>
            <pc:sldMk cId="3305116576" sldId="270"/>
            <ac:grpSpMk id="25" creationId="{254DECB5-E277-4849-A475-E8C43FEFB5C9}"/>
          </ac:grpSpMkLst>
        </pc:grpChg>
        <pc:picChg chg="add mod">
          <ac:chgData name="Richerzhagen, Bjoern (T CED WLN-DE)" userId="1be7a072-4164-461c-b9ed-ae3c5d97c1a8" providerId="ADAL" clId="{A27AFCC7-D8F6-44BC-A001-AAF1884E580A}" dt="2022-02-25T07:19:03.026" v="1251" actId="1076"/>
          <ac:picMkLst>
            <pc:docMk/>
            <pc:sldMk cId="3305116576" sldId="270"/>
            <ac:picMk id="2" creationId="{20220A8B-F806-44F5-937C-A49077BCD240}"/>
          </ac:picMkLst>
        </pc:picChg>
      </pc:sldChg>
      <pc:sldChg chg="del">
        <pc:chgData name="Richerzhagen, Bjoern (T CED WLN-DE)" userId="1be7a072-4164-461c-b9ed-ae3c5d97c1a8" providerId="ADAL" clId="{A27AFCC7-D8F6-44BC-A001-AAF1884E580A}" dt="2022-02-28T10:48:06.027" v="4186" actId="47"/>
        <pc:sldMkLst>
          <pc:docMk/>
          <pc:sldMk cId="73171101" sldId="271"/>
        </pc:sldMkLst>
      </pc:sldChg>
      <pc:sldChg chg="add del">
        <pc:chgData name="Richerzhagen, Bjoern (T CED WLN-DE)" userId="1be7a072-4164-461c-b9ed-ae3c5d97c1a8" providerId="ADAL" clId="{A27AFCC7-D8F6-44BC-A001-AAF1884E580A}" dt="2022-03-01T15:04:37.581" v="6558" actId="47"/>
        <pc:sldMkLst>
          <pc:docMk/>
          <pc:sldMk cId="2961801016" sldId="271"/>
        </pc:sldMkLst>
      </pc:sldChg>
      <pc:sldChg chg="del">
        <pc:chgData name="Richerzhagen, Bjoern (T CED WLN-DE)" userId="1be7a072-4164-461c-b9ed-ae3c5d97c1a8" providerId="ADAL" clId="{A27AFCC7-D8F6-44BC-A001-AAF1884E580A}" dt="2022-02-28T10:48:02.142" v="4185" actId="47"/>
        <pc:sldMkLst>
          <pc:docMk/>
          <pc:sldMk cId="1308318402" sldId="272"/>
        </pc:sldMkLst>
      </pc:sldChg>
      <pc:sldChg chg="addSp delSp modSp new mod ord modShow chgLayout modNotes">
        <pc:chgData name="Richerzhagen, Bjoern (T CED WLN-DE)" userId="1be7a072-4164-461c-b9ed-ae3c5d97c1a8" providerId="ADAL" clId="{A27AFCC7-D8F6-44BC-A001-AAF1884E580A}" dt="2022-03-02T12:56:15.058" v="12802" actId="790"/>
        <pc:sldMkLst>
          <pc:docMk/>
          <pc:sldMk cId="972166246" sldId="273"/>
        </pc:sldMkLst>
        <pc:spChg chg="del mod ord">
          <ac:chgData name="Richerzhagen, Bjoern (T CED WLN-DE)" userId="1be7a072-4164-461c-b9ed-ae3c5d97c1a8" providerId="ADAL" clId="{A27AFCC7-D8F6-44BC-A001-AAF1884E580A}" dt="2022-02-08T12:48:47.112" v="35" actId="700"/>
          <ac:spMkLst>
            <pc:docMk/>
            <pc:sldMk cId="972166246" sldId="273"/>
            <ac:spMk id="2" creationId="{B5BB73CC-9719-46C9-8872-9E5CCF1BC803}"/>
          </ac:spMkLst>
        </pc:spChg>
        <pc:spChg chg="del mod ord">
          <ac:chgData name="Richerzhagen, Bjoern (T CED WLN-DE)" userId="1be7a072-4164-461c-b9ed-ae3c5d97c1a8" providerId="ADAL" clId="{A27AFCC7-D8F6-44BC-A001-AAF1884E580A}" dt="2022-02-08T12:48:47.112" v="35" actId="700"/>
          <ac:spMkLst>
            <pc:docMk/>
            <pc:sldMk cId="972166246" sldId="273"/>
            <ac:spMk id="3" creationId="{D5F844B4-6AC6-4B3B-BC56-DC61C7C421F5}"/>
          </ac:spMkLst>
        </pc:spChg>
        <pc:spChg chg="add mod ord">
          <ac:chgData name="Richerzhagen, Bjoern (T CED WLN-DE)" userId="1be7a072-4164-461c-b9ed-ae3c5d97c1a8" providerId="ADAL" clId="{A27AFCC7-D8F6-44BC-A001-AAF1884E580A}" dt="2022-02-08T12:48:47.112" v="35" actId="700"/>
          <ac:spMkLst>
            <pc:docMk/>
            <pc:sldMk cId="972166246" sldId="273"/>
            <ac:spMk id="4" creationId="{98CC1406-41B9-4622-BAA6-00A63B439C4D}"/>
          </ac:spMkLst>
        </pc:spChg>
        <pc:spChg chg="add del mod ord">
          <ac:chgData name="Richerzhagen, Bjoern (T CED WLN-DE)" userId="1be7a072-4164-461c-b9ed-ae3c5d97c1a8" providerId="ADAL" clId="{A27AFCC7-D8F6-44BC-A001-AAF1884E580A}" dt="2022-02-08T12:48:56.698" v="36" actId="931"/>
          <ac:spMkLst>
            <pc:docMk/>
            <pc:sldMk cId="972166246" sldId="273"/>
            <ac:spMk id="5" creationId="{9B49EF70-8522-4128-82F2-2C3C4005CE27}"/>
          </ac:spMkLst>
        </pc:spChg>
        <pc:spChg chg="add del mod">
          <ac:chgData name="Richerzhagen, Bjoern (T CED WLN-DE)" userId="1be7a072-4164-461c-b9ed-ae3c5d97c1a8" providerId="ADAL" clId="{A27AFCC7-D8F6-44BC-A001-AAF1884E580A}" dt="2022-02-08T12:49:27.390" v="42" actId="931"/>
          <ac:spMkLst>
            <pc:docMk/>
            <pc:sldMk cId="972166246" sldId="273"/>
            <ac:spMk id="9" creationId="{00BED039-9FB4-42BD-90F5-04B1B6004FB2}"/>
          </ac:spMkLst>
        </pc:spChg>
        <pc:spChg chg="add del mod">
          <ac:chgData name="Richerzhagen, Bjoern (T CED WLN-DE)" userId="1be7a072-4164-461c-b9ed-ae3c5d97c1a8" providerId="ADAL" clId="{A27AFCC7-D8F6-44BC-A001-AAF1884E580A}" dt="2022-02-08T12:50:27.004" v="50" actId="931"/>
          <ac:spMkLst>
            <pc:docMk/>
            <pc:sldMk cId="972166246" sldId="273"/>
            <ac:spMk id="14" creationId="{A45D8482-992C-4960-AEBE-D3186F3044C2}"/>
          </ac:spMkLst>
        </pc:spChg>
        <pc:picChg chg="add mod">
          <ac:chgData name="Richerzhagen, Bjoern (T CED WLN-DE)" userId="1be7a072-4164-461c-b9ed-ae3c5d97c1a8" providerId="ADAL" clId="{A27AFCC7-D8F6-44BC-A001-AAF1884E580A}" dt="2022-03-02T08:31:23.444" v="11862" actId="1076"/>
          <ac:picMkLst>
            <pc:docMk/>
            <pc:sldMk cId="972166246" sldId="273"/>
            <ac:picMk id="6" creationId="{AA478885-A0B1-4EDE-AB21-1F09422C0AE2}"/>
          </ac:picMkLst>
        </pc:picChg>
        <pc:picChg chg="add del mod">
          <ac:chgData name="Richerzhagen, Bjoern (T CED WLN-DE)" userId="1be7a072-4164-461c-b9ed-ae3c5d97c1a8" providerId="ADAL" clId="{A27AFCC7-D8F6-44BC-A001-AAF1884E580A}" dt="2022-02-08T12:48:59.153" v="39" actId="21"/>
          <ac:picMkLst>
            <pc:docMk/>
            <pc:sldMk cId="972166246" sldId="273"/>
            <ac:picMk id="7" creationId="{8A859F0C-2EBA-4FB1-A564-AD0A1A802925}"/>
          </ac:picMkLst>
        </pc:picChg>
        <pc:picChg chg="add mod">
          <ac:chgData name="Richerzhagen, Bjoern (T CED WLN-DE)" userId="1be7a072-4164-461c-b9ed-ae3c5d97c1a8" providerId="ADAL" clId="{A27AFCC7-D8F6-44BC-A001-AAF1884E580A}" dt="2022-02-08T12:49:01.741" v="41" actId="1076"/>
          <ac:picMkLst>
            <pc:docMk/>
            <pc:sldMk cId="972166246" sldId="273"/>
            <ac:picMk id="10" creationId="{53B28A60-FB45-439D-8CAC-5426D4C6E037}"/>
          </ac:picMkLst>
        </pc:picChg>
        <pc:picChg chg="add del mod">
          <ac:chgData name="Richerzhagen, Bjoern (T CED WLN-DE)" userId="1be7a072-4164-461c-b9ed-ae3c5d97c1a8" providerId="ADAL" clId="{A27AFCC7-D8F6-44BC-A001-AAF1884E580A}" dt="2022-02-08T12:49:28.764" v="43" actId="21"/>
          <ac:picMkLst>
            <pc:docMk/>
            <pc:sldMk cId="972166246" sldId="273"/>
            <ac:picMk id="12" creationId="{BC947CD2-9696-4E0E-BC04-F06A0DA59C03}"/>
          </ac:picMkLst>
        </pc:picChg>
        <pc:picChg chg="add mod">
          <ac:chgData name="Richerzhagen, Bjoern (T CED WLN-DE)" userId="1be7a072-4164-461c-b9ed-ae3c5d97c1a8" providerId="ADAL" clId="{A27AFCC7-D8F6-44BC-A001-AAF1884E580A}" dt="2022-02-08T12:50:39.861" v="58" actId="1076"/>
          <ac:picMkLst>
            <pc:docMk/>
            <pc:sldMk cId="972166246" sldId="273"/>
            <ac:picMk id="15" creationId="{014B457E-F210-4010-9752-ADE1F8E46FA5}"/>
          </ac:picMkLst>
        </pc:picChg>
        <pc:picChg chg="add mod">
          <ac:chgData name="Richerzhagen, Bjoern (T CED WLN-DE)" userId="1be7a072-4164-461c-b9ed-ae3c5d97c1a8" providerId="ADAL" clId="{A27AFCC7-D8F6-44BC-A001-AAF1884E580A}" dt="2022-02-08T12:50:42.831" v="60" actId="1076"/>
          <ac:picMkLst>
            <pc:docMk/>
            <pc:sldMk cId="972166246" sldId="273"/>
            <ac:picMk id="17" creationId="{6CF58012-B110-4459-A0F2-F94BFB85934F}"/>
          </ac:picMkLst>
        </pc:picChg>
      </pc:sldChg>
      <pc:sldChg chg="addSp delSp modSp new mod modClrScheme chgLayout modNotes modNotesTx">
        <pc:chgData name="Richerzhagen, Bjoern (T CED WLN-DE)" userId="1be7a072-4164-461c-b9ed-ae3c5d97c1a8" providerId="ADAL" clId="{A27AFCC7-D8F6-44BC-A001-AAF1884E580A}" dt="2022-03-08T08:47:58.493" v="22099" actId="20577"/>
        <pc:sldMkLst>
          <pc:docMk/>
          <pc:sldMk cId="1502900377" sldId="274"/>
        </pc:sldMkLst>
        <pc:spChg chg="del mod ord">
          <ac:chgData name="Richerzhagen, Bjoern (T CED WLN-DE)" userId="1be7a072-4164-461c-b9ed-ae3c5d97c1a8" providerId="ADAL" clId="{A27AFCC7-D8F6-44BC-A001-AAF1884E580A}" dt="2022-02-08T12:57:21.720" v="81" actId="700"/>
          <ac:spMkLst>
            <pc:docMk/>
            <pc:sldMk cId="1502900377" sldId="274"/>
            <ac:spMk id="2" creationId="{4B6E91E7-E868-49C5-B9F0-00F4CADB1F46}"/>
          </ac:spMkLst>
        </pc:spChg>
        <pc:spChg chg="del mod ord">
          <ac:chgData name="Richerzhagen, Bjoern (T CED WLN-DE)" userId="1be7a072-4164-461c-b9ed-ae3c5d97c1a8" providerId="ADAL" clId="{A27AFCC7-D8F6-44BC-A001-AAF1884E580A}" dt="2022-02-08T12:57:21.720" v="81" actId="700"/>
          <ac:spMkLst>
            <pc:docMk/>
            <pc:sldMk cId="1502900377" sldId="274"/>
            <ac:spMk id="3" creationId="{0CFB3712-72AB-4837-90BB-90D92C45B323}"/>
          </ac:spMkLst>
        </pc:spChg>
        <pc:spChg chg="add mod ord">
          <ac:chgData name="Richerzhagen, Bjoern (T CED WLN-DE)" userId="1be7a072-4164-461c-b9ed-ae3c5d97c1a8" providerId="ADAL" clId="{A27AFCC7-D8F6-44BC-A001-AAF1884E580A}" dt="2022-02-28T13:39:15.719" v="4194" actId="700"/>
          <ac:spMkLst>
            <pc:docMk/>
            <pc:sldMk cId="1502900377" sldId="274"/>
            <ac:spMk id="4" creationId="{EDA2E8E9-22AB-4AD1-9C82-3D348D05D62E}"/>
          </ac:spMkLst>
        </pc:spChg>
        <pc:spChg chg="add mod ord">
          <ac:chgData name="Richerzhagen, Bjoern (T CED WLN-DE)" userId="1be7a072-4164-461c-b9ed-ae3c5d97c1a8" providerId="ADAL" clId="{A27AFCC7-D8F6-44BC-A001-AAF1884E580A}" dt="2022-03-08T08:01:26.082" v="17026" actId="20577"/>
          <ac:spMkLst>
            <pc:docMk/>
            <pc:sldMk cId="1502900377" sldId="274"/>
            <ac:spMk id="5" creationId="{30333122-4CB5-44EF-BDCB-FE8BCF4A1840}"/>
          </ac:spMkLst>
        </pc:spChg>
        <pc:spChg chg="add mod">
          <ac:chgData name="Richerzhagen, Bjoern (T CED WLN-DE)" userId="1be7a072-4164-461c-b9ed-ae3c5d97c1a8" providerId="ADAL" clId="{A27AFCC7-D8F6-44BC-A001-AAF1884E580A}" dt="2022-02-25T08:41:33.771" v="3683" actId="20577"/>
          <ac:spMkLst>
            <pc:docMk/>
            <pc:sldMk cId="1502900377" sldId="274"/>
            <ac:spMk id="6" creationId="{39CF1D87-9599-4A41-A263-BC9C4B92FDAF}"/>
          </ac:spMkLst>
        </pc:spChg>
        <pc:spChg chg="add del mod">
          <ac:chgData name="Richerzhagen, Bjoern (T CED WLN-DE)" userId="1be7a072-4164-461c-b9ed-ae3c5d97c1a8" providerId="ADAL" clId="{A27AFCC7-D8F6-44BC-A001-AAF1884E580A}" dt="2022-02-08T13:10:42.323" v="358" actId="478"/>
          <ac:spMkLst>
            <pc:docMk/>
            <pc:sldMk cId="1502900377" sldId="274"/>
            <ac:spMk id="6" creationId="{82EC65D5-145F-4926-92FC-5DC70A428C61}"/>
          </ac:spMkLst>
        </pc:spChg>
        <pc:spChg chg="add del mod ord">
          <ac:chgData name="Richerzhagen, Bjoern (T CED WLN-DE)" userId="1be7a072-4164-461c-b9ed-ae3c5d97c1a8" providerId="ADAL" clId="{A27AFCC7-D8F6-44BC-A001-AAF1884E580A}" dt="2022-02-08T13:05:07.192" v="270" actId="700"/>
          <ac:spMkLst>
            <pc:docMk/>
            <pc:sldMk cId="1502900377" sldId="274"/>
            <ac:spMk id="7" creationId="{231E93FE-54C4-4CFA-A88F-B5AD5DC491FD}"/>
          </ac:spMkLst>
        </pc:spChg>
        <pc:spChg chg="add del">
          <ac:chgData name="Richerzhagen, Bjoern (T CED WLN-DE)" userId="1be7a072-4164-461c-b9ed-ae3c5d97c1a8" providerId="ADAL" clId="{A27AFCC7-D8F6-44BC-A001-AAF1884E580A}" dt="2022-02-08T13:07:13.778" v="296" actId="478"/>
          <ac:spMkLst>
            <pc:docMk/>
            <pc:sldMk cId="1502900377" sldId="274"/>
            <ac:spMk id="8" creationId="{3FE65D54-4890-4368-9663-7B4C037EE6AB}"/>
          </ac:spMkLst>
        </pc:spChg>
        <pc:spChg chg="add mod ord">
          <ac:chgData name="Richerzhagen, Bjoern (T CED WLN-DE)" userId="1be7a072-4164-461c-b9ed-ae3c5d97c1a8" providerId="ADAL" clId="{A27AFCC7-D8F6-44BC-A001-AAF1884E580A}" dt="2022-02-28T13:39:47" v="4197" actId="14100"/>
          <ac:spMkLst>
            <pc:docMk/>
            <pc:sldMk cId="1502900377" sldId="274"/>
            <ac:spMk id="9" creationId="{936F1348-EE86-4B87-9391-642A20E01B4E}"/>
          </ac:spMkLst>
        </pc:spChg>
        <pc:spChg chg="add del mod">
          <ac:chgData name="Richerzhagen, Bjoern (T CED WLN-DE)" userId="1be7a072-4164-461c-b9ed-ae3c5d97c1a8" providerId="ADAL" clId="{A27AFCC7-D8F6-44BC-A001-AAF1884E580A}" dt="2022-02-25T07:22:17.483" v="1289" actId="478"/>
          <ac:spMkLst>
            <pc:docMk/>
            <pc:sldMk cId="1502900377" sldId="274"/>
            <ac:spMk id="10" creationId="{521C2ADD-79FA-4D1D-BDD2-22236ED675B6}"/>
          </ac:spMkLst>
        </pc:spChg>
        <pc:spChg chg="add del mod topLvl">
          <ac:chgData name="Richerzhagen, Bjoern (T CED WLN-DE)" userId="1be7a072-4164-461c-b9ed-ae3c5d97c1a8" providerId="ADAL" clId="{A27AFCC7-D8F6-44BC-A001-AAF1884E580A}" dt="2022-02-08T13:16:41.300" v="468" actId="164"/>
          <ac:spMkLst>
            <pc:docMk/>
            <pc:sldMk cId="1502900377" sldId="274"/>
            <ac:spMk id="12" creationId="{12F8AE78-50A1-4287-8BDE-2CD91CFC47CA}"/>
          </ac:spMkLst>
        </pc:spChg>
        <pc:spChg chg="add del mod topLvl">
          <ac:chgData name="Richerzhagen, Bjoern (T CED WLN-DE)" userId="1be7a072-4164-461c-b9ed-ae3c5d97c1a8" providerId="ADAL" clId="{A27AFCC7-D8F6-44BC-A001-AAF1884E580A}" dt="2022-02-08T13:16:41.300" v="468" actId="164"/>
          <ac:spMkLst>
            <pc:docMk/>
            <pc:sldMk cId="1502900377" sldId="274"/>
            <ac:spMk id="13" creationId="{AC63A4D3-D001-4B3E-A613-299218F5E086}"/>
          </ac:spMkLst>
        </pc:spChg>
        <pc:spChg chg="add mod">
          <ac:chgData name="Richerzhagen, Bjoern (T CED WLN-DE)" userId="1be7a072-4164-461c-b9ed-ae3c5d97c1a8" providerId="ADAL" clId="{A27AFCC7-D8F6-44BC-A001-AAF1884E580A}" dt="2022-03-01T14:57:14.766" v="6448" actId="1076"/>
          <ac:spMkLst>
            <pc:docMk/>
            <pc:sldMk cId="1502900377" sldId="274"/>
            <ac:spMk id="14" creationId="{13791300-D2BE-41D9-A9ED-7B2125C15097}"/>
          </ac:spMkLst>
        </pc:spChg>
        <pc:spChg chg="add del mod topLvl">
          <ac:chgData name="Richerzhagen, Bjoern (T CED WLN-DE)" userId="1be7a072-4164-461c-b9ed-ae3c5d97c1a8" providerId="ADAL" clId="{A27AFCC7-D8F6-44BC-A001-AAF1884E580A}" dt="2022-02-08T13:16:41.300" v="468" actId="164"/>
          <ac:spMkLst>
            <pc:docMk/>
            <pc:sldMk cId="1502900377" sldId="274"/>
            <ac:spMk id="14" creationId="{902EEC88-E35F-4F8F-9F87-263778F8FC17}"/>
          </ac:spMkLst>
        </pc:spChg>
        <pc:spChg chg="del mod topLvl">
          <ac:chgData name="Richerzhagen, Bjoern (T CED WLN-DE)" userId="1be7a072-4164-461c-b9ed-ae3c5d97c1a8" providerId="ADAL" clId="{A27AFCC7-D8F6-44BC-A001-AAF1884E580A}" dt="2022-02-08T13:18:49.454" v="498" actId="478"/>
          <ac:spMkLst>
            <pc:docMk/>
            <pc:sldMk cId="1502900377" sldId="274"/>
            <ac:spMk id="15" creationId="{7B6DC31B-B3EA-49C3-86C0-703F3736CEBF}"/>
          </ac:spMkLst>
        </pc:spChg>
        <pc:spChg chg="mod">
          <ac:chgData name="Richerzhagen, Bjoern (T CED WLN-DE)" userId="1be7a072-4164-461c-b9ed-ae3c5d97c1a8" providerId="ADAL" clId="{A27AFCC7-D8F6-44BC-A001-AAF1884E580A}" dt="2022-03-01T13:08:08.438" v="5677"/>
          <ac:spMkLst>
            <pc:docMk/>
            <pc:sldMk cId="1502900377" sldId="274"/>
            <ac:spMk id="18" creationId="{57FD6A66-6833-4637-9A6A-D208075D8883}"/>
          </ac:spMkLst>
        </pc:spChg>
        <pc:spChg chg="del mod topLvl">
          <ac:chgData name="Richerzhagen, Bjoern (T CED WLN-DE)" userId="1be7a072-4164-461c-b9ed-ae3c5d97c1a8" providerId="ADAL" clId="{A27AFCC7-D8F6-44BC-A001-AAF1884E580A}" dt="2022-02-25T07:18:36.322" v="1236" actId="478"/>
          <ac:spMkLst>
            <pc:docMk/>
            <pc:sldMk cId="1502900377" sldId="274"/>
            <ac:spMk id="18" creationId="{D4FAE4C3-8CC6-46D1-923F-CAA71C983759}"/>
          </ac:spMkLst>
        </pc:spChg>
        <pc:spChg chg="mod">
          <ac:chgData name="Richerzhagen, Bjoern (T CED WLN-DE)" userId="1be7a072-4164-461c-b9ed-ae3c5d97c1a8" providerId="ADAL" clId="{A27AFCC7-D8F6-44BC-A001-AAF1884E580A}" dt="2022-02-08T13:16:32.458" v="467"/>
          <ac:spMkLst>
            <pc:docMk/>
            <pc:sldMk cId="1502900377" sldId="274"/>
            <ac:spMk id="19" creationId="{2245085A-827E-4ADB-B6A7-2137188BF666}"/>
          </ac:spMkLst>
        </pc:spChg>
        <pc:spChg chg="mod">
          <ac:chgData name="Richerzhagen, Bjoern (T CED WLN-DE)" userId="1be7a072-4164-461c-b9ed-ae3c5d97c1a8" providerId="ADAL" clId="{A27AFCC7-D8F6-44BC-A001-AAF1884E580A}" dt="2022-03-01T13:08:08.438" v="5677"/>
          <ac:spMkLst>
            <pc:docMk/>
            <pc:sldMk cId="1502900377" sldId="274"/>
            <ac:spMk id="19" creationId="{36AEA6D2-0A69-40EC-9720-9621AA0670A3}"/>
          </ac:spMkLst>
        </pc:spChg>
        <pc:spChg chg="mod">
          <ac:chgData name="Richerzhagen, Bjoern (T CED WLN-DE)" userId="1be7a072-4164-461c-b9ed-ae3c5d97c1a8" providerId="ADAL" clId="{A27AFCC7-D8F6-44BC-A001-AAF1884E580A}" dt="2022-03-01T13:08:27.971" v="5682" actId="20577"/>
          <ac:spMkLst>
            <pc:docMk/>
            <pc:sldMk cId="1502900377" sldId="274"/>
            <ac:spMk id="20" creationId="{710F91AC-2799-401D-9468-BC3B7342FE59}"/>
          </ac:spMkLst>
        </pc:spChg>
        <pc:spChg chg="add mod">
          <ac:chgData name="Richerzhagen, Bjoern (T CED WLN-DE)" userId="1be7a072-4164-461c-b9ed-ae3c5d97c1a8" providerId="ADAL" clId="{A27AFCC7-D8F6-44BC-A001-AAF1884E580A}" dt="2022-02-25T07:20:23.343" v="1262" actId="207"/>
          <ac:spMkLst>
            <pc:docMk/>
            <pc:sldMk cId="1502900377" sldId="274"/>
            <ac:spMk id="21" creationId="{4C7FD707-B9FF-4F05-B3DB-D2911E972E42}"/>
          </ac:spMkLst>
        </pc:spChg>
        <pc:spChg chg="add mod">
          <ac:chgData name="Richerzhagen, Bjoern (T CED WLN-DE)" userId="1be7a072-4164-461c-b9ed-ae3c5d97c1a8" providerId="ADAL" clId="{A27AFCC7-D8F6-44BC-A001-AAF1884E580A}" dt="2022-02-25T07:20:06.033" v="1261" actId="14100"/>
          <ac:spMkLst>
            <pc:docMk/>
            <pc:sldMk cId="1502900377" sldId="274"/>
            <ac:spMk id="22" creationId="{D316E1C1-6765-459D-95BD-0C5E66559156}"/>
          </ac:spMkLst>
        </pc:spChg>
        <pc:spChg chg="add mod">
          <ac:chgData name="Richerzhagen, Bjoern (T CED WLN-DE)" userId="1be7a072-4164-461c-b9ed-ae3c5d97c1a8" providerId="ADAL" clId="{A27AFCC7-D8F6-44BC-A001-AAF1884E580A}" dt="2022-02-08T13:20:07.002" v="510" actId="14100"/>
          <ac:spMkLst>
            <pc:docMk/>
            <pc:sldMk cId="1502900377" sldId="274"/>
            <ac:spMk id="23" creationId="{848061B7-099C-44BB-9E4D-9D9CD5C76351}"/>
          </ac:spMkLst>
        </pc:spChg>
        <pc:spChg chg="add mod">
          <ac:chgData name="Richerzhagen, Bjoern (T CED WLN-DE)" userId="1be7a072-4164-461c-b9ed-ae3c5d97c1a8" providerId="ADAL" clId="{A27AFCC7-D8F6-44BC-A001-AAF1884E580A}" dt="2022-03-02T13:01:16.978" v="12983" actId="1076"/>
          <ac:spMkLst>
            <pc:docMk/>
            <pc:sldMk cId="1502900377" sldId="274"/>
            <ac:spMk id="25" creationId="{2B9880B4-BF9D-4DC7-9684-256CBDDEEB8E}"/>
          </ac:spMkLst>
        </pc:spChg>
        <pc:spChg chg="mod">
          <ac:chgData name="Richerzhagen, Bjoern (T CED WLN-DE)" userId="1be7a072-4164-461c-b9ed-ae3c5d97c1a8" providerId="ADAL" clId="{A27AFCC7-D8F6-44BC-A001-AAF1884E580A}" dt="2022-03-01T13:08:19.678" v="5680"/>
          <ac:spMkLst>
            <pc:docMk/>
            <pc:sldMk cId="1502900377" sldId="274"/>
            <ac:spMk id="25" creationId="{E7A64C3E-E8DF-43FD-AC35-96EF626518DD}"/>
          </ac:spMkLst>
        </pc:spChg>
        <pc:spChg chg="add mod">
          <ac:chgData name="Richerzhagen, Bjoern (T CED WLN-DE)" userId="1be7a072-4164-461c-b9ed-ae3c5d97c1a8" providerId="ADAL" clId="{A27AFCC7-D8F6-44BC-A001-AAF1884E580A}" dt="2022-03-01T14:58:09.341" v="6482" actId="164"/>
          <ac:spMkLst>
            <pc:docMk/>
            <pc:sldMk cId="1502900377" sldId="274"/>
            <ac:spMk id="27" creationId="{B5E9F112-43D2-4A65-BFFF-836325515F2E}"/>
          </ac:spMkLst>
        </pc:spChg>
        <pc:spChg chg="add mod">
          <ac:chgData name="Richerzhagen, Bjoern (T CED WLN-DE)" userId="1be7a072-4164-461c-b9ed-ae3c5d97c1a8" providerId="ADAL" clId="{A27AFCC7-D8F6-44BC-A001-AAF1884E580A}" dt="2022-03-01T14:58:44.929" v="6492" actId="1076"/>
          <ac:spMkLst>
            <pc:docMk/>
            <pc:sldMk cId="1502900377" sldId="274"/>
            <ac:spMk id="30" creationId="{C017F34A-167D-4C35-921E-9CB5BB312E39}"/>
          </ac:spMkLst>
        </pc:spChg>
        <pc:spChg chg="add mod">
          <ac:chgData name="Richerzhagen, Bjoern (T CED WLN-DE)" userId="1be7a072-4164-461c-b9ed-ae3c5d97c1a8" providerId="ADAL" clId="{A27AFCC7-D8F6-44BC-A001-AAF1884E580A}" dt="2022-03-01T15:00:06.653" v="6528" actId="1076"/>
          <ac:spMkLst>
            <pc:docMk/>
            <pc:sldMk cId="1502900377" sldId="274"/>
            <ac:spMk id="33" creationId="{CE4D8E16-EBD2-4D59-B349-076FBE2413F3}"/>
          </ac:spMkLst>
        </pc:spChg>
        <pc:grpChg chg="add mod">
          <ac:chgData name="Richerzhagen, Bjoern (T CED WLN-DE)" userId="1be7a072-4164-461c-b9ed-ae3c5d97c1a8" providerId="ADAL" clId="{A27AFCC7-D8F6-44BC-A001-AAF1884E580A}" dt="2022-03-01T13:27:56.002" v="6006" actId="1076"/>
          <ac:grpSpMkLst>
            <pc:docMk/>
            <pc:sldMk cId="1502900377" sldId="274"/>
            <ac:grpSpMk id="11" creationId="{88DF0B2E-252B-47AF-83AB-616794C39150}"/>
          </ac:grpSpMkLst>
        </pc:grpChg>
        <pc:grpChg chg="add del mod">
          <ac:chgData name="Richerzhagen, Bjoern (T CED WLN-DE)" userId="1be7a072-4164-461c-b9ed-ae3c5d97c1a8" providerId="ADAL" clId="{A27AFCC7-D8F6-44BC-A001-AAF1884E580A}" dt="2022-02-08T13:16:14.346" v="463" actId="165"/>
          <ac:grpSpMkLst>
            <pc:docMk/>
            <pc:sldMk cId="1502900377" sldId="274"/>
            <ac:grpSpMk id="11" creationId="{D2B918E9-B864-4AF9-B724-F7DFEBE86DF9}"/>
          </ac:grpSpMkLst>
        </pc:grpChg>
        <pc:grpChg chg="add del mod">
          <ac:chgData name="Richerzhagen, Bjoern (T CED WLN-DE)" userId="1be7a072-4164-461c-b9ed-ae3c5d97c1a8" providerId="ADAL" clId="{A27AFCC7-D8F6-44BC-A001-AAF1884E580A}" dt="2022-03-01T13:24:09.423" v="5987" actId="21"/>
          <ac:grpSpMkLst>
            <pc:docMk/>
            <pc:sldMk cId="1502900377" sldId="274"/>
            <ac:grpSpMk id="15" creationId="{E7DDBA28-12AD-4D89-83A5-368EE937B4E8}"/>
          </ac:grpSpMkLst>
        </pc:grpChg>
        <pc:grpChg chg="add del mod">
          <ac:chgData name="Richerzhagen, Bjoern (T CED WLN-DE)" userId="1be7a072-4164-461c-b9ed-ae3c5d97c1a8" providerId="ADAL" clId="{A27AFCC7-D8F6-44BC-A001-AAF1884E580A}" dt="2022-02-08T13:18:50.943" v="499" actId="478"/>
          <ac:grpSpMkLst>
            <pc:docMk/>
            <pc:sldMk cId="1502900377" sldId="274"/>
            <ac:grpSpMk id="20" creationId="{3A61FFCD-BBA4-4252-98D8-04A2F15D3FB4}"/>
          </ac:grpSpMkLst>
        </pc:grpChg>
        <pc:grpChg chg="add mod ord">
          <ac:chgData name="Richerzhagen, Bjoern (T CED WLN-DE)" userId="1be7a072-4164-461c-b9ed-ae3c5d97c1a8" providerId="ADAL" clId="{A27AFCC7-D8F6-44BC-A001-AAF1884E580A}" dt="2022-02-08T13:20:51.358" v="541" actId="1038"/>
          <ac:grpSpMkLst>
            <pc:docMk/>
            <pc:sldMk cId="1502900377" sldId="274"/>
            <ac:grpSpMk id="24" creationId="{5C305CF7-7E06-46EE-96DA-BB2096F14C6F}"/>
          </ac:grpSpMkLst>
        </pc:grpChg>
        <pc:grpChg chg="add mod">
          <ac:chgData name="Richerzhagen, Bjoern (T CED WLN-DE)" userId="1be7a072-4164-461c-b9ed-ae3c5d97c1a8" providerId="ADAL" clId="{A27AFCC7-D8F6-44BC-A001-AAF1884E580A}" dt="2022-03-01T14:59:22.657" v="6524" actId="1076"/>
          <ac:grpSpMkLst>
            <pc:docMk/>
            <pc:sldMk cId="1502900377" sldId="274"/>
            <ac:grpSpMk id="31" creationId="{8582ACF8-8F83-4817-B0B0-9050604BE88D}"/>
          </ac:grpSpMkLst>
        </pc:grpChg>
        <pc:grpChg chg="add mod ord">
          <ac:chgData name="Richerzhagen, Bjoern (T CED WLN-DE)" userId="1be7a072-4164-461c-b9ed-ae3c5d97c1a8" providerId="ADAL" clId="{A27AFCC7-D8F6-44BC-A001-AAF1884E580A}" dt="2022-03-01T14:59:22.657" v="6524" actId="1076"/>
          <ac:grpSpMkLst>
            <pc:docMk/>
            <pc:sldMk cId="1502900377" sldId="274"/>
            <ac:grpSpMk id="32" creationId="{FACFC5CF-8E01-43D1-BD65-344859766504}"/>
          </ac:grpSpMkLst>
        </pc:grpChg>
        <pc:picChg chg="add mod ord">
          <ac:chgData name="Richerzhagen, Bjoern (T CED WLN-DE)" userId="1be7a072-4164-461c-b9ed-ae3c5d97c1a8" providerId="ADAL" clId="{A27AFCC7-D8F6-44BC-A001-AAF1884E580A}" dt="2022-03-01T13:27:43.385" v="6004" actId="164"/>
          <ac:picMkLst>
            <pc:docMk/>
            <pc:sldMk cId="1502900377" sldId="274"/>
            <ac:picMk id="3" creationId="{E343CD8D-9478-4BC5-A41A-051A2F4DE034}"/>
          </ac:picMkLst>
        </pc:picChg>
        <pc:picChg chg="add del mod">
          <ac:chgData name="Richerzhagen, Bjoern (T CED WLN-DE)" userId="1be7a072-4164-461c-b9ed-ae3c5d97c1a8" providerId="ADAL" clId="{A27AFCC7-D8F6-44BC-A001-AAF1884E580A}" dt="2022-03-01T13:21:14.177" v="5799" actId="478"/>
          <ac:picMkLst>
            <pc:docMk/>
            <pc:sldMk cId="1502900377" sldId="274"/>
            <ac:picMk id="7" creationId="{2E416C2D-5785-4D15-8DED-737D94781365}"/>
          </ac:picMkLst>
        </pc:picChg>
        <pc:picChg chg="add del mod">
          <ac:chgData name="Richerzhagen, Bjoern (T CED WLN-DE)" userId="1be7a072-4164-461c-b9ed-ae3c5d97c1a8" providerId="ADAL" clId="{A27AFCC7-D8F6-44BC-A001-AAF1884E580A}" dt="2022-03-01T13:22:41.562" v="5951" actId="478"/>
          <ac:picMkLst>
            <pc:docMk/>
            <pc:sldMk cId="1502900377" sldId="274"/>
            <ac:picMk id="8" creationId="{2EA9E37A-B364-471C-87FF-E8D2BC8C6F53}"/>
          </ac:picMkLst>
        </pc:picChg>
        <pc:picChg chg="add mod ord">
          <ac:chgData name="Richerzhagen, Bjoern (T CED WLN-DE)" userId="1be7a072-4164-461c-b9ed-ae3c5d97c1a8" providerId="ADAL" clId="{A27AFCC7-D8F6-44BC-A001-AAF1884E580A}" dt="2022-03-01T13:27:43.385" v="6004" actId="164"/>
          <ac:picMkLst>
            <pc:docMk/>
            <pc:sldMk cId="1502900377" sldId="274"/>
            <ac:picMk id="10" creationId="{276238F6-0FF7-49EF-8F9D-224E366470CC}"/>
          </ac:picMkLst>
        </pc:picChg>
        <pc:picChg chg="add mod">
          <ac:chgData name="Richerzhagen, Bjoern (T CED WLN-DE)" userId="1be7a072-4164-461c-b9ed-ae3c5d97c1a8" providerId="ADAL" clId="{A27AFCC7-D8F6-44BC-A001-AAF1884E580A}" dt="2022-03-01T14:58:23.818" v="6485" actId="208"/>
          <ac:picMkLst>
            <pc:docMk/>
            <pc:sldMk cId="1502900377" sldId="274"/>
            <ac:picMk id="13" creationId="{B494E7EE-09BE-4340-A634-7B9E87027300}"/>
          </ac:picMkLst>
        </pc:picChg>
        <pc:picChg chg="add mod">
          <ac:chgData name="Richerzhagen, Bjoern (T CED WLN-DE)" userId="1be7a072-4164-461c-b9ed-ae3c5d97c1a8" providerId="ADAL" clId="{A27AFCC7-D8F6-44BC-A001-AAF1884E580A}" dt="2022-03-01T14:58:21.266" v="6484" actId="208"/>
          <ac:picMkLst>
            <pc:docMk/>
            <pc:sldMk cId="1502900377" sldId="274"/>
            <ac:picMk id="28" creationId="{8D4FDCC1-A77E-466C-887F-16150230E2B2}"/>
          </ac:picMkLst>
        </pc:picChg>
        <pc:picChg chg="add del mod">
          <ac:chgData name="Richerzhagen, Bjoern (T CED WLN-DE)" userId="1be7a072-4164-461c-b9ed-ae3c5d97c1a8" providerId="ADAL" clId="{A27AFCC7-D8F6-44BC-A001-AAF1884E580A}" dt="2022-02-28T13:55:17.715" v="4278" actId="478"/>
          <ac:picMkLst>
            <pc:docMk/>
            <pc:sldMk cId="1502900377" sldId="274"/>
            <ac:picMk id="29" creationId="{F73276CE-B2A8-473C-8CE2-F532C1DD282C}"/>
          </ac:picMkLst>
        </pc:picChg>
        <pc:cxnChg chg="mod topLvl">
          <ac:chgData name="Richerzhagen, Bjoern (T CED WLN-DE)" userId="1be7a072-4164-461c-b9ed-ae3c5d97c1a8" providerId="ADAL" clId="{A27AFCC7-D8F6-44BC-A001-AAF1884E580A}" dt="2022-02-25T07:21:13.906" v="1263" actId="14100"/>
          <ac:cxnSpMkLst>
            <pc:docMk/>
            <pc:sldMk cId="1502900377" sldId="274"/>
            <ac:cxnSpMk id="16" creationId="{89769479-CB9D-48FB-B164-CD7C861F998A}"/>
          </ac:cxnSpMkLst>
        </pc:cxnChg>
        <pc:cxnChg chg="mod topLvl">
          <ac:chgData name="Richerzhagen, Bjoern (T CED WLN-DE)" userId="1be7a072-4164-461c-b9ed-ae3c5d97c1a8" providerId="ADAL" clId="{A27AFCC7-D8F6-44BC-A001-AAF1884E580A}" dt="2022-02-25T07:19:41.561" v="1259" actId="14100"/>
          <ac:cxnSpMkLst>
            <pc:docMk/>
            <pc:sldMk cId="1502900377" sldId="274"/>
            <ac:cxnSpMk id="17" creationId="{63A3192F-F55B-4757-8E01-08277C173E44}"/>
          </ac:cxnSpMkLst>
        </pc:cxnChg>
      </pc:sldChg>
      <pc:sldChg chg="modSp add del mod">
        <pc:chgData name="Richerzhagen, Bjoern (T CED WLN-DE)" userId="1be7a072-4164-461c-b9ed-ae3c5d97c1a8" providerId="ADAL" clId="{A27AFCC7-D8F6-44BC-A001-AAF1884E580A}" dt="2022-02-25T07:32:00.848" v="1372" actId="47"/>
        <pc:sldMkLst>
          <pc:docMk/>
          <pc:sldMk cId="2872094151" sldId="275"/>
        </pc:sldMkLst>
        <pc:spChg chg="mod">
          <ac:chgData name="Richerzhagen, Bjoern (T CED WLN-DE)" userId="1be7a072-4164-461c-b9ed-ae3c5d97c1a8" providerId="ADAL" clId="{A27AFCC7-D8F6-44BC-A001-AAF1884E580A}" dt="2022-02-08T13:13:07.691" v="381" actId="20577"/>
          <ac:spMkLst>
            <pc:docMk/>
            <pc:sldMk cId="2872094151" sldId="275"/>
            <ac:spMk id="4" creationId="{EDA2E8E9-22AB-4AD1-9C82-3D348D05D62E}"/>
          </ac:spMkLst>
        </pc:spChg>
        <pc:spChg chg="mod">
          <ac:chgData name="Richerzhagen, Bjoern (T CED WLN-DE)" userId="1be7a072-4164-461c-b9ed-ae3c5d97c1a8" providerId="ADAL" clId="{A27AFCC7-D8F6-44BC-A001-AAF1884E580A}" dt="2022-02-08T13:02:45.771" v="238"/>
          <ac:spMkLst>
            <pc:docMk/>
            <pc:sldMk cId="2872094151" sldId="275"/>
            <ac:spMk id="5" creationId="{30333122-4CB5-44EF-BDCB-FE8BCF4A1840}"/>
          </ac:spMkLst>
        </pc:spChg>
      </pc:sldChg>
      <pc:sldChg chg="modSp add del mod">
        <pc:chgData name="Richerzhagen, Bjoern (T CED WLN-DE)" userId="1be7a072-4164-461c-b9ed-ae3c5d97c1a8" providerId="ADAL" clId="{A27AFCC7-D8F6-44BC-A001-AAF1884E580A}" dt="2022-02-25T07:32:01.350" v="1373" actId="47"/>
        <pc:sldMkLst>
          <pc:docMk/>
          <pc:sldMk cId="2145262266" sldId="276"/>
        </pc:sldMkLst>
        <pc:spChg chg="mod">
          <ac:chgData name="Richerzhagen, Bjoern (T CED WLN-DE)" userId="1be7a072-4164-461c-b9ed-ae3c5d97c1a8" providerId="ADAL" clId="{A27AFCC7-D8F6-44BC-A001-AAF1884E580A}" dt="2022-02-08T13:13:09.642" v="382" actId="20577"/>
          <ac:spMkLst>
            <pc:docMk/>
            <pc:sldMk cId="2145262266" sldId="276"/>
            <ac:spMk id="4" creationId="{EDA2E8E9-22AB-4AD1-9C82-3D348D05D62E}"/>
          </ac:spMkLst>
        </pc:spChg>
        <pc:spChg chg="mod">
          <ac:chgData name="Richerzhagen, Bjoern (T CED WLN-DE)" userId="1be7a072-4164-461c-b9ed-ae3c5d97c1a8" providerId="ADAL" clId="{A27AFCC7-D8F6-44BC-A001-AAF1884E580A}" dt="2022-02-08T13:02:48.109" v="239"/>
          <ac:spMkLst>
            <pc:docMk/>
            <pc:sldMk cId="2145262266" sldId="276"/>
            <ac:spMk id="5" creationId="{30333122-4CB5-44EF-BDCB-FE8BCF4A1840}"/>
          </ac:spMkLst>
        </pc:spChg>
      </pc:sldChg>
      <pc:sldChg chg="modSp add del mod">
        <pc:chgData name="Richerzhagen, Bjoern (T CED WLN-DE)" userId="1be7a072-4164-461c-b9ed-ae3c5d97c1a8" providerId="ADAL" clId="{A27AFCC7-D8F6-44BC-A001-AAF1884E580A}" dt="2022-02-25T07:32:01.936" v="1374" actId="47"/>
        <pc:sldMkLst>
          <pc:docMk/>
          <pc:sldMk cId="3274821982" sldId="277"/>
        </pc:sldMkLst>
        <pc:spChg chg="mod">
          <ac:chgData name="Richerzhagen, Bjoern (T CED WLN-DE)" userId="1be7a072-4164-461c-b9ed-ae3c5d97c1a8" providerId="ADAL" clId="{A27AFCC7-D8F6-44BC-A001-AAF1884E580A}" dt="2022-02-08T13:13:11.231" v="383" actId="20577"/>
          <ac:spMkLst>
            <pc:docMk/>
            <pc:sldMk cId="3274821982" sldId="277"/>
            <ac:spMk id="4" creationId="{EDA2E8E9-22AB-4AD1-9C82-3D348D05D62E}"/>
          </ac:spMkLst>
        </pc:spChg>
        <pc:spChg chg="mod">
          <ac:chgData name="Richerzhagen, Bjoern (T CED WLN-DE)" userId="1be7a072-4164-461c-b9ed-ae3c5d97c1a8" providerId="ADAL" clId="{A27AFCC7-D8F6-44BC-A001-AAF1884E580A}" dt="2022-02-08T13:02:49.412" v="240"/>
          <ac:spMkLst>
            <pc:docMk/>
            <pc:sldMk cId="3274821982" sldId="277"/>
            <ac:spMk id="5" creationId="{30333122-4CB5-44EF-BDCB-FE8BCF4A1840}"/>
          </ac:spMkLst>
        </pc:spChg>
      </pc:sldChg>
      <pc:sldChg chg="addSp delSp modSp new mod ord modShow chgLayout modNotes">
        <pc:chgData name="Richerzhagen, Bjoern (T CED WLN-DE)" userId="1be7a072-4164-461c-b9ed-ae3c5d97c1a8" providerId="ADAL" clId="{A27AFCC7-D8F6-44BC-A001-AAF1884E580A}" dt="2022-03-02T12:56:15.056" v="12801" actId="790"/>
        <pc:sldMkLst>
          <pc:docMk/>
          <pc:sldMk cId="3646848291" sldId="278"/>
        </pc:sldMkLst>
        <pc:spChg chg="del mod ord">
          <ac:chgData name="Richerzhagen, Bjoern (T CED WLN-DE)" userId="1be7a072-4164-461c-b9ed-ae3c5d97c1a8" providerId="ADAL" clId="{A27AFCC7-D8F6-44BC-A001-AAF1884E580A}" dt="2022-02-08T12:59:28.892" v="102" actId="700"/>
          <ac:spMkLst>
            <pc:docMk/>
            <pc:sldMk cId="3646848291" sldId="278"/>
            <ac:spMk id="2" creationId="{B2D0B441-D57B-45F9-A9F7-8957883CEA77}"/>
          </ac:spMkLst>
        </pc:spChg>
        <pc:spChg chg="del mod ord">
          <ac:chgData name="Richerzhagen, Bjoern (T CED WLN-DE)" userId="1be7a072-4164-461c-b9ed-ae3c5d97c1a8" providerId="ADAL" clId="{A27AFCC7-D8F6-44BC-A001-AAF1884E580A}" dt="2022-02-08T12:59:28.892" v="102" actId="700"/>
          <ac:spMkLst>
            <pc:docMk/>
            <pc:sldMk cId="3646848291" sldId="278"/>
            <ac:spMk id="3" creationId="{DC82DDCF-A7D2-4E09-B398-25DB66CA417F}"/>
          </ac:spMkLst>
        </pc:spChg>
        <pc:spChg chg="add mod ord">
          <ac:chgData name="Richerzhagen, Bjoern (T CED WLN-DE)" userId="1be7a072-4164-461c-b9ed-ae3c5d97c1a8" providerId="ADAL" clId="{A27AFCC7-D8F6-44BC-A001-AAF1884E580A}" dt="2022-02-28T10:48:28.217" v="4189" actId="27636"/>
          <ac:spMkLst>
            <pc:docMk/>
            <pc:sldMk cId="3646848291" sldId="278"/>
            <ac:spMk id="4" creationId="{522BC573-FE57-4D2D-9B1B-8C7350E23285}"/>
          </ac:spMkLst>
        </pc:spChg>
        <pc:spChg chg="add mod ord">
          <ac:chgData name="Richerzhagen, Bjoern (T CED WLN-DE)" userId="1be7a072-4164-461c-b9ed-ae3c5d97c1a8" providerId="ADAL" clId="{A27AFCC7-D8F6-44BC-A001-AAF1884E580A}" dt="2022-02-08T13:00:34.623" v="159" actId="113"/>
          <ac:spMkLst>
            <pc:docMk/>
            <pc:sldMk cId="3646848291" sldId="278"/>
            <ac:spMk id="5" creationId="{C4F2892F-5244-4E20-A8ED-52E132B38507}"/>
          </ac:spMkLst>
        </pc:spChg>
      </pc:sldChg>
      <pc:sldChg chg="modSp add del mod ord">
        <pc:chgData name="Richerzhagen, Bjoern (T CED WLN-DE)" userId="1be7a072-4164-461c-b9ed-ae3c5d97c1a8" providerId="ADAL" clId="{A27AFCC7-D8F6-44BC-A001-AAF1884E580A}" dt="2022-02-28T10:46:58.825" v="4182" actId="47"/>
        <pc:sldMkLst>
          <pc:docMk/>
          <pc:sldMk cId="3251400232" sldId="279"/>
        </pc:sldMkLst>
        <pc:spChg chg="mod">
          <ac:chgData name="Richerzhagen, Bjoern (T CED WLN-DE)" userId="1be7a072-4164-461c-b9ed-ae3c5d97c1a8" providerId="ADAL" clId="{A27AFCC7-D8F6-44BC-A001-AAF1884E580A}" dt="2022-02-25T07:55:03.864" v="3620" actId="20577"/>
          <ac:spMkLst>
            <pc:docMk/>
            <pc:sldMk cId="3251400232" sldId="279"/>
            <ac:spMk id="4" creationId="{522BC573-FE57-4D2D-9B1B-8C7350E23285}"/>
          </ac:spMkLst>
        </pc:spChg>
        <pc:spChg chg="mod">
          <ac:chgData name="Richerzhagen, Bjoern (T CED WLN-DE)" userId="1be7a072-4164-461c-b9ed-ae3c5d97c1a8" providerId="ADAL" clId="{A27AFCC7-D8F6-44BC-A001-AAF1884E580A}" dt="2022-02-08T13:02:04.262" v="236" actId="27636"/>
          <ac:spMkLst>
            <pc:docMk/>
            <pc:sldMk cId="3251400232" sldId="279"/>
            <ac:spMk id="5" creationId="{C4F2892F-5244-4E20-A8ED-52E132B38507}"/>
          </ac:spMkLst>
        </pc:spChg>
      </pc:sldChg>
      <pc:sldChg chg="new del">
        <pc:chgData name="Richerzhagen, Bjoern (T CED WLN-DE)" userId="1be7a072-4164-461c-b9ed-ae3c5d97c1a8" providerId="ADAL" clId="{A27AFCC7-D8F6-44BC-A001-AAF1884E580A}" dt="2022-02-08T13:00:56.720" v="191" actId="47"/>
        <pc:sldMkLst>
          <pc:docMk/>
          <pc:sldMk cId="3486528064" sldId="279"/>
        </pc:sldMkLst>
      </pc:sldChg>
      <pc:sldChg chg="addSp delSp modSp add mod ord modShow chgLayout modNotes">
        <pc:chgData name="Richerzhagen, Bjoern (T CED WLN-DE)" userId="1be7a072-4164-461c-b9ed-ae3c5d97c1a8" providerId="ADAL" clId="{A27AFCC7-D8F6-44BC-A001-AAF1884E580A}" dt="2022-03-08T07:23:17.244" v="16796" actId="478"/>
        <pc:sldMkLst>
          <pc:docMk/>
          <pc:sldMk cId="11359200" sldId="280"/>
        </pc:sldMkLst>
        <pc:spChg chg="mod ord">
          <ac:chgData name="Richerzhagen, Bjoern (T CED WLN-DE)" userId="1be7a072-4164-461c-b9ed-ae3c5d97c1a8" providerId="ADAL" clId="{A27AFCC7-D8F6-44BC-A001-AAF1884E580A}" dt="2022-02-28T13:40:49.188" v="4212" actId="700"/>
          <ac:spMkLst>
            <pc:docMk/>
            <pc:sldMk cId="11359200" sldId="280"/>
            <ac:spMk id="4" creationId="{EDA2E8E9-22AB-4AD1-9C82-3D348D05D62E}"/>
          </ac:spMkLst>
        </pc:spChg>
        <pc:spChg chg="mod ord">
          <ac:chgData name="Richerzhagen, Bjoern (T CED WLN-DE)" userId="1be7a072-4164-461c-b9ed-ae3c5d97c1a8" providerId="ADAL" clId="{A27AFCC7-D8F6-44BC-A001-AAF1884E580A}" dt="2022-03-01T15:59:08.876" v="8166" actId="14100"/>
          <ac:spMkLst>
            <pc:docMk/>
            <pc:sldMk cId="11359200" sldId="280"/>
            <ac:spMk id="5" creationId="{30333122-4CB5-44EF-BDCB-FE8BCF4A1840}"/>
          </ac:spMkLst>
        </pc:spChg>
        <pc:spChg chg="add mod">
          <ac:chgData name="Richerzhagen, Bjoern (T CED WLN-DE)" userId="1be7a072-4164-461c-b9ed-ae3c5d97c1a8" providerId="ADAL" clId="{A27AFCC7-D8F6-44BC-A001-AAF1884E580A}" dt="2022-03-01T15:59:05.555" v="8165" actId="1076"/>
          <ac:spMkLst>
            <pc:docMk/>
            <pc:sldMk cId="11359200" sldId="280"/>
            <ac:spMk id="7" creationId="{3906C51A-7795-4105-ADD9-1EF2E9448F1E}"/>
          </ac:spMkLst>
        </pc:spChg>
        <pc:spChg chg="add mod">
          <ac:chgData name="Richerzhagen, Bjoern (T CED WLN-DE)" userId="1be7a072-4164-461c-b9ed-ae3c5d97c1a8" providerId="ADAL" clId="{A27AFCC7-D8F6-44BC-A001-AAF1884E580A}" dt="2022-03-01T15:59:05.555" v="8165" actId="1076"/>
          <ac:spMkLst>
            <pc:docMk/>
            <pc:sldMk cId="11359200" sldId="280"/>
            <ac:spMk id="8" creationId="{820A7D41-A75D-4AB5-A0AD-592493B7E129}"/>
          </ac:spMkLst>
        </pc:spChg>
        <pc:spChg chg="add del mod">
          <ac:chgData name="Richerzhagen, Bjoern (T CED WLN-DE)" userId="1be7a072-4164-461c-b9ed-ae3c5d97c1a8" providerId="ADAL" clId="{A27AFCC7-D8F6-44BC-A001-AAF1884E580A}" dt="2022-03-08T07:23:17.244" v="16796" actId="478"/>
          <ac:spMkLst>
            <pc:docMk/>
            <pc:sldMk cId="11359200" sldId="280"/>
            <ac:spMk id="11" creationId="{1FA7DE91-910F-4B1C-896F-AC907FBC87FB}"/>
          </ac:spMkLst>
        </pc:spChg>
        <pc:picChg chg="add del mod">
          <ac:chgData name="Richerzhagen, Bjoern (T CED WLN-DE)" userId="1be7a072-4164-461c-b9ed-ae3c5d97c1a8" providerId="ADAL" clId="{A27AFCC7-D8F6-44BC-A001-AAF1884E580A}" dt="2022-03-01T15:58:45.634" v="8163" actId="478"/>
          <ac:picMkLst>
            <pc:docMk/>
            <pc:sldMk cId="11359200" sldId="280"/>
            <ac:picMk id="2" creationId="{4004FCED-4C26-4917-8F90-F31E0842F795}"/>
          </ac:picMkLst>
        </pc:picChg>
        <pc:picChg chg="add mod">
          <ac:chgData name="Richerzhagen, Bjoern (T CED WLN-DE)" userId="1be7a072-4164-461c-b9ed-ae3c5d97c1a8" providerId="ADAL" clId="{A27AFCC7-D8F6-44BC-A001-AAF1884E580A}" dt="2022-03-01T15:59:05.555" v="8165" actId="1076"/>
          <ac:picMkLst>
            <pc:docMk/>
            <pc:sldMk cId="11359200" sldId="280"/>
            <ac:picMk id="6" creationId="{34A51496-5B35-4992-9BBD-D85FDCF75BC1}"/>
          </ac:picMkLst>
        </pc:picChg>
        <pc:picChg chg="add mod">
          <ac:chgData name="Richerzhagen, Bjoern (T CED WLN-DE)" userId="1be7a072-4164-461c-b9ed-ae3c5d97c1a8" providerId="ADAL" clId="{A27AFCC7-D8F6-44BC-A001-AAF1884E580A}" dt="2022-03-01T15:59:05.555" v="8165" actId="1076"/>
          <ac:picMkLst>
            <pc:docMk/>
            <pc:sldMk cId="11359200" sldId="280"/>
            <ac:picMk id="9" creationId="{9C205C78-AE6E-405F-855A-D4BB25B2C7D2}"/>
          </ac:picMkLst>
        </pc:picChg>
        <pc:picChg chg="add mod">
          <ac:chgData name="Richerzhagen, Bjoern (T CED WLN-DE)" userId="1be7a072-4164-461c-b9ed-ae3c5d97c1a8" providerId="ADAL" clId="{A27AFCC7-D8F6-44BC-A001-AAF1884E580A}" dt="2022-03-01T15:59:41.088" v="8171" actId="1076"/>
          <ac:picMkLst>
            <pc:docMk/>
            <pc:sldMk cId="11359200" sldId="280"/>
            <ac:picMk id="10" creationId="{BBF748C9-E697-4643-AD34-7C8E1B696AD0}"/>
          </ac:picMkLst>
        </pc:picChg>
      </pc:sldChg>
      <pc:sldChg chg="addSp delSp modSp new mod ord modClrScheme modShow chgLayout modNotes">
        <pc:chgData name="Richerzhagen, Bjoern (T CED WLN-DE)" userId="1be7a072-4164-461c-b9ed-ae3c5d97c1a8" providerId="ADAL" clId="{A27AFCC7-D8F6-44BC-A001-AAF1884E580A}" dt="2022-03-02T12:56:15.052" v="12800" actId="790"/>
        <pc:sldMkLst>
          <pc:docMk/>
          <pc:sldMk cId="4292574809" sldId="281"/>
        </pc:sldMkLst>
        <pc:spChg chg="del">
          <ac:chgData name="Richerzhagen, Bjoern (T CED WLN-DE)" userId="1be7a072-4164-461c-b9ed-ae3c5d97c1a8" providerId="ADAL" clId="{A27AFCC7-D8F6-44BC-A001-AAF1884E580A}" dt="2022-02-08T13:34:57.407" v="670" actId="700"/>
          <ac:spMkLst>
            <pc:docMk/>
            <pc:sldMk cId="4292574809" sldId="281"/>
            <ac:spMk id="2" creationId="{F7D93EE6-D872-448B-8577-2C5DCC408C32}"/>
          </ac:spMkLst>
        </pc:spChg>
        <pc:spChg chg="del">
          <ac:chgData name="Richerzhagen, Bjoern (T CED WLN-DE)" userId="1be7a072-4164-461c-b9ed-ae3c5d97c1a8" providerId="ADAL" clId="{A27AFCC7-D8F6-44BC-A001-AAF1884E580A}" dt="2022-02-08T13:34:57.407" v="670" actId="700"/>
          <ac:spMkLst>
            <pc:docMk/>
            <pc:sldMk cId="4292574809" sldId="281"/>
            <ac:spMk id="3" creationId="{635E86C4-3CB4-4FF0-9B90-5ACFAD362F4A}"/>
          </ac:spMkLst>
        </pc:spChg>
        <pc:spChg chg="del">
          <ac:chgData name="Richerzhagen, Bjoern (T CED WLN-DE)" userId="1be7a072-4164-461c-b9ed-ae3c5d97c1a8" providerId="ADAL" clId="{A27AFCC7-D8F6-44BC-A001-AAF1884E580A}" dt="2022-02-08T13:34:57.407" v="670" actId="700"/>
          <ac:spMkLst>
            <pc:docMk/>
            <pc:sldMk cId="4292574809" sldId="281"/>
            <ac:spMk id="4" creationId="{14A21D18-9CEF-40A8-AB2E-60AA251174CC}"/>
          </ac:spMkLst>
        </pc:spChg>
        <pc:spChg chg="del">
          <ac:chgData name="Richerzhagen, Bjoern (T CED WLN-DE)" userId="1be7a072-4164-461c-b9ed-ae3c5d97c1a8" providerId="ADAL" clId="{A27AFCC7-D8F6-44BC-A001-AAF1884E580A}" dt="2022-02-08T13:34:57.407" v="670" actId="700"/>
          <ac:spMkLst>
            <pc:docMk/>
            <pc:sldMk cId="4292574809" sldId="281"/>
            <ac:spMk id="5" creationId="{F01C0421-EEDF-498B-83B7-64723EA2523E}"/>
          </ac:spMkLst>
        </pc:spChg>
        <pc:spChg chg="del">
          <ac:chgData name="Richerzhagen, Bjoern (T CED WLN-DE)" userId="1be7a072-4164-461c-b9ed-ae3c5d97c1a8" providerId="ADAL" clId="{A27AFCC7-D8F6-44BC-A001-AAF1884E580A}" dt="2022-02-08T13:34:57.407" v="670" actId="700"/>
          <ac:spMkLst>
            <pc:docMk/>
            <pc:sldMk cId="4292574809" sldId="281"/>
            <ac:spMk id="6" creationId="{79DE7968-7186-4A68-8772-73418EE8D07B}"/>
          </ac:spMkLst>
        </pc:spChg>
        <pc:spChg chg="del mod ord">
          <ac:chgData name="Richerzhagen, Bjoern (T CED WLN-DE)" userId="1be7a072-4164-461c-b9ed-ae3c5d97c1a8" providerId="ADAL" clId="{A27AFCC7-D8F6-44BC-A001-AAF1884E580A}" dt="2022-02-08T13:34:57.407" v="670" actId="700"/>
          <ac:spMkLst>
            <pc:docMk/>
            <pc:sldMk cId="4292574809" sldId="281"/>
            <ac:spMk id="7" creationId="{55FC5F13-04D3-4CB4-96B5-17BCC7C625F2}"/>
          </ac:spMkLst>
        </pc:spChg>
        <pc:spChg chg="del mod ord">
          <ac:chgData name="Richerzhagen, Bjoern (T CED WLN-DE)" userId="1be7a072-4164-461c-b9ed-ae3c5d97c1a8" providerId="ADAL" clId="{A27AFCC7-D8F6-44BC-A001-AAF1884E580A}" dt="2022-02-08T13:34:57.407" v="670" actId="700"/>
          <ac:spMkLst>
            <pc:docMk/>
            <pc:sldMk cId="4292574809" sldId="281"/>
            <ac:spMk id="8" creationId="{42931FF3-432D-4A09-83D2-C8A32505B835}"/>
          </ac:spMkLst>
        </pc:spChg>
        <pc:spChg chg="del">
          <ac:chgData name="Richerzhagen, Bjoern (T CED WLN-DE)" userId="1be7a072-4164-461c-b9ed-ae3c5d97c1a8" providerId="ADAL" clId="{A27AFCC7-D8F6-44BC-A001-AAF1884E580A}" dt="2022-02-08T13:34:57.407" v="670" actId="700"/>
          <ac:spMkLst>
            <pc:docMk/>
            <pc:sldMk cId="4292574809" sldId="281"/>
            <ac:spMk id="9" creationId="{15C9E0EA-94C6-4F92-8FB9-E5B8A678C106}"/>
          </ac:spMkLst>
        </pc:spChg>
        <pc:spChg chg="add mod ord">
          <ac:chgData name="Richerzhagen, Bjoern (T CED WLN-DE)" userId="1be7a072-4164-461c-b9ed-ae3c5d97c1a8" providerId="ADAL" clId="{A27AFCC7-D8F6-44BC-A001-AAF1884E580A}" dt="2022-02-08T13:35:09.246" v="705" actId="20577"/>
          <ac:spMkLst>
            <pc:docMk/>
            <pc:sldMk cId="4292574809" sldId="281"/>
            <ac:spMk id="10" creationId="{75E0634C-1CD4-46A4-90CA-20C8F2DF2BA3}"/>
          </ac:spMkLst>
        </pc:spChg>
        <pc:spChg chg="add mod ord">
          <ac:chgData name="Richerzhagen, Bjoern (T CED WLN-DE)" userId="1be7a072-4164-461c-b9ed-ae3c5d97c1a8" providerId="ADAL" clId="{A27AFCC7-D8F6-44BC-A001-AAF1884E580A}" dt="2022-02-08T13:38:25.524" v="1119" actId="20577"/>
          <ac:spMkLst>
            <pc:docMk/>
            <pc:sldMk cId="4292574809" sldId="281"/>
            <ac:spMk id="11" creationId="{B4E39A0F-40E2-40B4-A6D4-F8E56AE3C49F}"/>
          </ac:spMkLst>
        </pc:spChg>
      </pc:sldChg>
      <pc:sldChg chg="addSp delSp modSp add mod chgLayout modNotes modNotesTx">
        <pc:chgData name="Richerzhagen, Bjoern (T CED WLN-DE)" userId="1be7a072-4164-461c-b9ed-ae3c5d97c1a8" providerId="ADAL" clId="{A27AFCC7-D8F6-44BC-A001-AAF1884E580A}" dt="2022-03-08T12:11:54.309" v="38783" actId="1076"/>
        <pc:sldMkLst>
          <pc:docMk/>
          <pc:sldMk cId="1264718432" sldId="282"/>
        </pc:sldMkLst>
        <pc:spChg chg="add del mod">
          <ac:chgData name="Richerzhagen, Bjoern (T CED WLN-DE)" userId="1be7a072-4164-461c-b9ed-ae3c5d97c1a8" providerId="ADAL" clId="{A27AFCC7-D8F6-44BC-A001-AAF1884E580A}" dt="2022-03-02T07:32:58.825" v="10395" actId="478"/>
          <ac:spMkLst>
            <pc:docMk/>
            <pc:sldMk cId="1264718432" sldId="282"/>
            <ac:spMk id="2" creationId="{D69F136F-343A-4310-9D24-43C1581A7CBF}"/>
          </ac:spMkLst>
        </pc:spChg>
        <pc:spChg chg="add del mod">
          <ac:chgData name="Richerzhagen, Bjoern (T CED WLN-DE)" userId="1be7a072-4164-461c-b9ed-ae3c5d97c1a8" providerId="ADAL" clId="{A27AFCC7-D8F6-44BC-A001-AAF1884E580A}" dt="2022-03-02T07:39:22.887" v="10914" actId="478"/>
          <ac:spMkLst>
            <pc:docMk/>
            <pc:sldMk cId="1264718432" sldId="282"/>
            <ac:spMk id="3" creationId="{D6DA756F-EEF8-4C08-86BB-96AE754DE66A}"/>
          </ac:spMkLst>
        </pc:spChg>
        <pc:spChg chg="mod ord">
          <ac:chgData name="Richerzhagen, Bjoern (T CED WLN-DE)" userId="1be7a072-4164-461c-b9ed-ae3c5d97c1a8" providerId="ADAL" clId="{A27AFCC7-D8F6-44BC-A001-AAF1884E580A}" dt="2022-02-28T13:40:02.889" v="4200" actId="700"/>
          <ac:spMkLst>
            <pc:docMk/>
            <pc:sldMk cId="1264718432" sldId="282"/>
            <ac:spMk id="4" creationId="{EDA2E8E9-22AB-4AD1-9C82-3D348D05D62E}"/>
          </ac:spMkLst>
        </pc:spChg>
        <pc:spChg chg="del mod ord">
          <ac:chgData name="Richerzhagen, Bjoern (T CED WLN-DE)" userId="1be7a072-4164-461c-b9ed-ae3c5d97c1a8" providerId="ADAL" clId="{A27AFCC7-D8F6-44BC-A001-AAF1884E580A}" dt="2022-03-02T07:37:27.726" v="10860" actId="21"/>
          <ac:spMkLst>
            <pc:docMk/>
            <pc:sldMk cId="1264718432" sldId="282"/>
            <ac:spMk id="5" creationId="{30333122-4CB5-44EF-BDCB-FE8BCF4A1840}"/>
          </ac:spMkLst>
        </pc:spChg>
        <pc:spChg chg="mod">
          <ac:chgData name="Richerzhagen, Bjoern (T CED WLN-DE)" userId="1be7a072-4164-461c-b9ed-ae3c5d97c1a8" providerId="ADAL" clId="{A27AFCC7-D8F6-44BC-A001-AAF1884E580A}" dt="2022-02-25T07:25:29.503" v="1334" actId="20577"/>
          <ac:spMkLst>
            <pc:docMk/>
            <pc:sldMk cId="1264718432" sldId="282"/>
            <ac:spMk id="6" creationId="{39CF1D87-9599-4A41-A263-BC9C4B92FDAF}"/>
          </ac:spMkLst>
        </pc:spChg>
        <pc:spChg chg="add del mod">
          <ac:chgData name="Richerzhagen, Bjoern (T CED WLN-DE)" userId="1be7a072-4164-461c-b9ed-ae3c5d97c1a8" providerId="ADAL" clId="{A27AFCC7-D8F6-44BC-A001-AAF1884E580A}" dt="2022-03-02T07:37:44.410" v="10865" actId="478"/>
          <ac:spMkLst>
            <pc:docMk/>
            <pc:sldMk cId="1264718432" sldId="282"/>
            <ac:spMk id="8" creationId="{B941A5D9-71B5-41F0-903B-4419F4AB1CDF}"/>
          </ac:spMkLst>
        </pc:spChg>
        <pc:spChg chg="mod">
          <ac:chgData name="Richerzhagen, Bjoern (T CED WLN-DE)" userId="1be7a072-4164-461c-b9ed-ae3c5d97c1a8" providerId="ADAL" clId="{A27AFCC7-D8F6-44BC-A001-AAF1884E580A}" dt="2022-02-28T13:40:05.446" v="4201" actId="207"/>
          <ac:spMkLst>
            <pc:docMk/>
            <pc:sldMk cId="1264718432" sldId="282"/>
            <ac:spMk id="9" creationId="{936F1348-EE86-4B87-9391-642A20E01B4E}"/>
          </ac:spMkLst>
        </pc:spChg>
        <pc:spChg chg="add del mod">
          <ac:chgData name="Richerzhagen, Bjoern (T CED WLN-DE)" userId="1be7a072-4164-461c-b9ed-ae3c5d97c1a8" providerId="ADAL" clId="{A27AFCC7-D8F6-44BC-A001-AAF1884E580A}" dt="2022-03-02T07:33:17.609" v="10398" actId="478"/>
          <ac:spMkLst>
            <pc:docMk/>
            <pc:sldMk cId="1264718432" sldId="282"/>
            <ac:spMk id="13" creationId="{93F6ED12-A27B-438E-9080-B828F8DBD4DE}"/>
          </ac:spMkLst>
        </pc:spChg>
        <pc:spChg chg="add mod modVis">
          <ac:chgData name="Richerzhagen, Bjoern (T CED WLN-DE)" userId="1be7a072-4164-461c-b9ed-ae3c5d97c1a8" providerId="ADAL" clId="{A27AFCC7-D8F6-44BC-A001-AAF1884E580A}" dt="2022-03-08T09:33:13.007" v="30361" actId="14430"/>
          <ac:spMkLst>
            <pc:docMk/>
            <pc:sldMk cId="1264718432" sldId="282"/>
            <ac:spMk id="14" creationId="{0A6F60B2-4076-46BD-9268-E0A3AE606B35}"/>
          </ac:spMkLst>
        </pc:spChg>
        <pc:spChg chg="add mod">
          <ac:chgData name="Richerzhagen, Bjoern (T CED WLN-DE)" userId="1be7a072-4164-461c-b9ed-ae3c5d97c1a8" providerId="ADAL" clId="{A27AFCC7-D8F6-44BC-A001-AAF1884E580A}" dt="2022-03-02T09:01:10.597" v="11911" actId="1076"/>
          <ac:spMkLst>
            <pc:docMk/>
            <pc:sldMk cId="1264718432" sldId="282"/>
            <ac:spMk id="18" creationId="{0C9344E1-63E4-4945-AC81-A1AB23FC8B98}"/>
          </ac:spMkLst>
        </pc:spChg>
        <pc:spChg chg="add mod">
          <ac:chgData name="Richerzhagen, Bjoern (T CED WLN-DE)" userId="1be7a072-4164-461c-b9ed-ae3c5d97c1a8" providerId="ADAL" clId="{A27AFCC7-D8F6-44BC-A001-AAF1884E580A}" dt="2022-03-02T09:01:10.597" v="11911" actId="1076"/>
          <ac:spMkLst>
            <pc:docMk/>
            <pc:sldMk cId="1264718432" sldId="282"/>
            <ac:spMk id="19" creationId="{701C80B4-404C-4CD0-81B7-54BD10874666}"/>
          </ac:spMkLst>
        </pc:spChg>
        <pc:spChg chg="add mod">
          <ac:chgData name="Richerzhagen, Bjoern (T CED WLN-DE)" userId="1be7a072-4164-461c-b9ed-ae3c5d97c1a8" providerId="ADAL" clId="{A27AFCC7-D8F6-44BC-A001-AAF1884E580A}" dt="2022-03-02T12:51:38.167" v="12627" actId="14100"/>
          <ac:spMkLst>
            <pc:docMk/>
            <pc:sldMk cId="1264718432" sldId="282"/>
            <ac:spMk id="20" creationId="{E1787BC5-F034-4448-856F-597E45058590}"/>
          </ac:spMkLst>
        </pc:spChg>
        <pc:spChg chg="add mod">
          <ac:chgData name="Richerzhagen, Bjoern (T CED WLN-DE)" userId="1be7a072-4164-461c-b9ed-ae3c5d97c1a8" providerId="ADAL" clId="{A27AFCC7-D8F6-44BC-A001-AAF1884E580A}" dt="2022-03-02T12:51:25.687" v="12625" actId="20577"/>
          <ac:spMkLst>
            <pc:docMk/>
            <pc:sldMk cId="1264718432" sldId="282"/>
            <ac:spMk id="25" creationId="{19EAF8C0-2963-4FF9-BC95-B05D30F708B8}"/>
          </ac:spMkLst>
        </pc:spChg>
        <pc:spChg chg="add mod">
          <ac:chgData name="Richerzhagen, Bjoern (T CED WLN-DE)" userId="1be7a072-4164-461c-b9ed-ae3c5d97c1a8" providerId="ADAL" clId="{A27AFCC7-D8F6-44BC-A001-AAF1884E580A}" dt="2022-03-02T09:01:10.597" v="11911" actId="1076"/>
          <ac:spMkLst>
            <pc:docMk/>
            <pc:sldMk cId="1264718432" sldId="282"/>
            <ac:spMk id="26" creationId="{D3FBF44B-1250-4167-864F-4AAEE58F0321}"/>
          </ac:spMkLst>
        </pc:spChg>
        <pc:spChg chg="add mod">
          <ac:chgData name="Richerzhagen, Bjoern (T CED WLN-DE)" userId="1be7a072-4164-461c-b9ed-ae3c5d97c1a8" providerId="ADAL" clId="{A27AFCC7-D8F6-44BC-A001-AAF1884E580A}" dt="2022-03-02T12:51:33.644" v="12626" actId="14100"/>
          <ac:spMkLst>
            <pc:docMk/>
            <pc:sldMk cId="1264718432" sldId="282"/>
            <ac:spMk id="27" creationId="{96C010EE-84AC-43B1-B4EB-DFBEC1C0ADC3}"/>
          </ac:spMkLst>
        </pc:spChg>
        <pc:spChg chg="add mod">
          <ac:chgData name="Richerzhagen, Bjoern (T CED WLN-DE)" userId="1be7a072-4164-461c-b9ed-ae3c5d97c1a8" providerId="ADAL" clId="{A27AFCC7-D8F6-44BC-A001-AAF1884E580A}" dt="2022-03-02T12:50:50.604" v="12598" actId="122"/>
          <ac:spMkLst>
            <pc:docMk/>
            <pc:sldMk cId="1264718432" sldId="282"/>
            <ac:spMk id="28" creationId="{CB4E93F5-D08D-4826-9844-068350E518F7}"/>
          </ac:spMkLst>
        </pc:spChg>
        <pc:spChg chg="add mod">
          <ac:chgData name="Richerzhagen, Bjoern (T CED WLN-DE)" userId="1be7a072-4164-461c-b9ed-ae3c5d97c1a8" providerId="ADAL" clId="{A27AFCC7-D8F6-44BC-A001-AAF1884E580A}" dt="2022-03-02T12:50:43.280" v="12596" actId="122"/>
          <ac:spMkLst>
            <pc:docMk/>
            <pc:sldMk cId="1264718432" sldId="282"/>
            <ac:spMk id="29" creationId="{7199E3A5-D000-4896-A3EF-6C63C5044C16}"/>
          </ac:spMkLst>
        </pc:spChg>
        <pc:spChg chg="mod">
          <ac:chgData name="Richerzhagen, Bjoern (T CED WLN-DE)" userId="1be7a072-4164-461c-b9ed-ae3c5d97c1a8" providerId="ADAL" clId="{A27AFCC7-D8F6-44BC-A001-AAF1884E580A}" dt="2022-03-02T07:44:47.111" v="11096"/>
          <ac:spMkLst>
            <pc:docMk/>
            <pc:sldMk cId="1264718432" sldId="282"/>
            <ac:spMk id="31" creationId="{584D133B-7574-4BC2-A67C-263590E651D6}"/>
          </ac:spMkLst>
        </pc:spChg>
        <pc:spChg chg="mod">
          <ac:chgData name="Richerzhagen, Bjoern (T CED WLN-DE)" userId="1be7a072-4164-461c-b9ed-ae3c5d97c1a8" providerId="ADAL" clId="{A27AFCC7-D8F6-44BC-A001-AAF1884E580A}" dt="2022-03-02T07:44:47.111" v="11096"/>
          <ac:spMkLst>
            <pc:docMk/>
            <pc:sldMk cId="1264718432" sldId="282"/>
            <ac:spMk id="32" creationId="{AD90B7D5-BD81-494B-9785-9049D9896817}"/>
          </ac:spMkLst>
        </pc:spChg>
        <pc:spChg chg="mod">
          <ac:chgData name="Richerzhagen, Bjoern (T CED WLN-DE)" userId="1be7a072-4164-461c-b9ed-ae3c5d97c1a8" providerId="ADAL" clId="{A27AFCC7-D8F6-44BC-A001-AAF1884E580A}" dt="2022-03-02T07:44:47.111" v="11096"/>
          <ac:spMkLst>
            <pc:docMk/>
            <pc:sldMk cId="1264718432" sldId="282"/>
            <ac:spMk id="33" creationId="{B3032F28-D7DA-436D-BBC0-D4E9874D9BC0}"/>
          </ac:spMkLst>
        </pc:spChg>
        <pc:spChg chg="mod">
          <ac:chgData name="Richerzhagen, Bjoern (T CED WLN-DE)" userId="1be7a072-4164-461c-b9ed-ae3c5d97c1a8" providerId="ADAL" clId="{A27AFCC7-D8F6-44BC-A001-AAF1884E580A}" dt="2022-03-02T07:44:47.111" v="11096"/>
          <ac:spMkLst>
            <pc:docMk/>
            <pc:sldMk cId="1264718432" sldId="282"/>
            <ac:spMk id="34" creationId="{ADA3C1D0-B4F3-4CB5-BE1E-FAE810EDA2EC}"/>
          </ac:spMkLst>
        </pc:spChg>
        <pc:spChg chg="add mod">
          <ac:chgData name="Richerzhagen, Bjoern (T CED WLN-DE)" userId="1be7a072-4164-461c-b9ed-ae3c5d97c1a8" providerId="ADAL" clId="{A27AFCC7-D8F6-44BC-A001-AAF1884E580A}" dt="2022-03-02T09:01:10.597" v="11911" actId="1076"/>
          <ac:spMkLst>
            <pc:docMk/>
            <pc:sldMk cId="1264718432" sldId="282"/>
            <ac:spMk id="36" creationId="{0F594B0C-4B24-4BD6-946A-35F3E7B4FDC6}"/>
          </ac:spMkLst>
        </pc:spChg>
        <pc:spChg chg="add mod">
          <ac:chgData name="Richerzhagen, Bjoern (T CED WLN-DE)" userId="1be7a072-4164-461c-b9ed-ae3c5d97c1a8" providerId="ADAL" clId="{A27AFCC7-D8F6-44BC-A001-AAF1884E580A}" dt="2022-03-02T09:01:10.597" v="11911" actId="1076"/>
          <ac:spMkLst>
            <pc:docMk/>
            <pc:sldMk cId="1264718432" sldId="282"/>
            <ac:spMk id="37" creationId="{A6BCEDD7-DB08-46E2-A4F5-C10A9D905012}"/>
          </ac:spMkLst>
        </pc:spChg>
        <pc:spChg chg="add mod">
          <ac:chgData name="Richerzhagen, Bjoern (T CED WLN-DE)" userId="1be7a072-4164-461c-b9ed-ae3c5d97c1a8" providerId="ADAL" clId="{A27AFCC7-D8F6-44BC-A001-AAF1884E580A}" dt="2022-03-08T08:03:05.121" v="17056" actId="1076"/>
          <ac:spMkLst>
            <pc:docMk/>
            <pc:sldMk cId="1264718432" sldId="282"/>
            <ac:spMk id="43" creationId="{B9DE46B5-E0FC-40A7-8C8A-4B05F49BE1DD}"/>
          </ac:spMkLst>
        </pc:spChg>
        <pc:spChg chg="add mod">
          <ac:chgData name="Richerzhagen, Bjoern (T CED WLN-DE)" userId="1be7a072-4164-461c-b9ed-ae3c5d97c1a8" providerId="ADAL" clId="{A27AFCC7-D8F6-44BC-A001-AAF1884E580A}" dt="2022-03-08T12:11:54.309" v="38783" actId="1076"/>
          <ac:spMkLst>
            <pc:docMk/>
            <pc:sldMk cId="1264718432" sldId="282"/>
            <ac:spMk id="46" creationId="{EA04DA5E-26EF-4EE6-8727-F5FF59CAA573}"/>
          </ac:spMkLst>
        </pc:spChg>
        <pc:spChg chg="add del mod">
          <ac:chgData name="Richerzhagen, Bjoern (T CED WLN-DE)" userId="1be7a072-4164-461c-b9ed-ae3c5d97c1a8" providerId="ADAL" clId="{A27AFCC7-D8F6-44BC-A001-AAF1884E580A}" dt="2022-03-02T08:06:40.622" v="11491" actId="478"/>
          <ac:spMkLst>
            <pc:docMk/>
            <pc:sldMk cId="1264718432" sldId="282"/>
            <ac:spMk id="76" creationId="{EC0C9E02-5B7C-4F65-B5AC-DB226A047F35}"/>
          </ac:spMkLst>
        </pc:spChg>
        <pc:spChg chg="add mod">
          <ac:chgData name="Richerzhagen, Bjoern (T CED WLN-DE)" userId="1be7a072-4164-461c-b9ed-ae3c5d97c1a8" providerId="ADAL" clId="{A27AFCC7-D8F6-44BC-A001-AAF1884E580A}" dt="2022-03-08T09:38:03.962" v="30960" actId="207"/>
          <ac:spMkLst>
            <pc:docMk/>
            <pc:sldMk cId="1264718432" sldId="282"/>
            <ac:spMk id="80" creationId="{294E344C-FD80-4F65-A914-A1EDD49F4365}"/>
          </ac:spMkLst>
        </pc:spChg>
        <pc:spChg chg="mod">
          <ac:chgData name="Richerzhagen, Bjoern (T CED WLN-DE)" userId="1be7a072-4164-461c-b9ed-ae3c5d97c1a8" providerId="ADAL" clId="{A27AFCC7-D8F6-44BC-A001-AAF1884E580A}" dt="2022-03-02T09:00:45.693" v="11903"/>
          <ac:spMkLst>
            <pc:docMk/>
            <pc:sldMk cId="1264718432" sldId="282"/>
            <ac:spMk id="82" creationId="{889A9F53-5ADE-48E9-83AD-613C8F78A893}"/>
          </ac:spMkLst>
        </pc:spChg>
        <pc:spChg chg="mod">
          <ac:chgData name="Richerzhagen, Bjoern (T CED WLN-DE)" userId="1be7a072-4164-461c-b9ed-ae3c5d97c1a8" providerId="ADAL" clId="{A27AFCC7-D8F6-44BC-A001-AAF1884E580A}" dt="2022-03-02T09:00:45.693" v="11903"/>
          <ac:spMkLst>
            <pc:docMk/>
            <pc:sldMk cId="1264718432" sldId="282"/>
            <ac:spMk id="83" creationId="{0EE827DE-E2D4-4900-A745-950B8E7448FE}"/>
          </ac:spMkLst>
        </pc:spChg>
        <pc:spChg chg="mod">
          <ac:chgData name="Richerzhagen, Bjoern (T CED WLN-DE)" userId="1be7a072-4164-461c-b9ed-ae3c5d97c1a8" providerId="ADAL" clId="{A27AFCC7-D8F6-44BC-A001-AAF1884E580A}" dt="2022-03-02T09:00:45.693" v="11903"/>
          <ac:spMkLst>
            <pc:docMk/>
            <pc:sldMk cId="1264718432" sldId="282"/>
            <ac:spMk id="84" creationId="{D764E6D2-C90E-42C3-ACF2-946F68D8FBD5}"/>
          </ac:spMkLst>
        </pc:spChg>
        <pc:spChg chg="mod">
          <ac:chgData name="Richerzhagen, Bjoern (T CED WLN-DE)" userId="1be7a072-4164-461c-b9ed-ae3c5d97c1a8" providerId="ADAL" clId="{A27AFCC7-D8F6-44BC-A001-AAF1884E580A}" dt="2022-03-02T09:00:45.693" v="11903"/>
          <ac:spMkLst>
            <pc:docMk/>
            <pc:sldMk cId="1264718432" sldId="282"/>
            <ac:spMk id="85" creationId="{D8D48005-CA4E-4C57-9083-73F55EEDD601}"/>
          </ac:spMkLst>
        </pc:spChg>
        <pc:spChg chg="mod">
          <ac:chgData name="Richerzhagen, Bjoern (T CED WLN-DE)" userId="1be7a072-4164-461c-b9ed-ae3c5d97c1a8" providerId="ADAL" clId="{A27AFCC7-D8F6-44BC-A001-AAF1884E580A}" dt="2022-03-02T09:00:45.693" v="11903"/>
          <ac:spMkLst>
            <pc:docMk/>
            <pc:sldMk cId="1264718432" sldId="282"/>
            <ac:spMk id="87" creationId="{F4998817-372E-4666-BDDD-A7B4519E19FA}"/>
          </ac:spMkLst>
        </pc:spChg>
        <pc:spChg chg="mod">
          <ac:chgData name="Richerzhagen, Bjoern (T CED WLN-DE)" userId="1be7a072-4164-461c-b9ed-ae3c5d97c1a8" providerId="ADAL" clId="{A27AFCC7-D8F6-44BC-A001-AAF1884E580A}" dt="2022-03-02T09:00:45.693" v="11903"/>
          <ac:spMkLst>
            <pc:docMk/>
            <pc:sldMk cId="1264718432" sldId="282"/>
            <ac:spMk id="88" creationId="{A51459C1-261C-4CE7-99EC-4674537E4F5D}"/>
          </ac:spMkLst>
        </pc:spChg>
        <pc:spChg chg="mod">
          <ac:chgData name="Richerzhagen, Bjoern (T CED WLN-DE)" userId="1be7a072-4164-461c-b9ed-ae3c5d97c1a8" providerId="ADAL" clId="{A27AFCC7-D8F6-44BC-A001-AAF1884E580A}" dt="2022-03-02T09:00:45.693" v="11903"/>
          <ac:spMkLst>
            <pc:docMk/>
            <pc:sldMk cId="1264718432" sldId="282"/>
            <ac:spMk id="89" creationId="{25C200E2-312C-4A17-AAA2-0F5EDB15971E}"/>
          </ac:spMkLst>
        </pc:spChg>
        <pc:spChg chg="mod">
          <ac:chgData name="Richerzhagen, Bjoern (T CED WLN-DE)" userId="1be7a072-4164-461c-b9ed-ae3c5d97c1a8" providerId="ADAL" clId="{A27AFCC7-D8F6-44BC-A001-AAF1884E580A}" dt="2022-03-02T09:00:45.693" v="11903"/>
          <ac:spMkLst>
            <pc:docMk/>
            <pc:sldMk cId="1264718432" sldId="282"/>
            <ac:spMk id="90" creationId="{6F850116-89CA-44FF-9F6D-963FED208342}"/>
          </ac:spMkLst>
        </pc:spChg>
        <pc:spChg chg="add mod">
          <ac:chgData name="Richerzhagen, Bjoern (T CED WLN-DE)" userId="1be7a072-4164-461c-b9ed-ae3c5d97c1a8" providerId="ADAL" clId="{A27AFCC7-D8F6-44BC-A001-AAF1884E580A}" dt="2022-03-08T12:11:50.244" v="38781" actId="1076"/>
          <ac:spMkLst>
            <pc:docMk/>
            <pc:sldMk cId="1264718432" sldId="282"/>
            <ac:spMk id="97" creationId="{55732FF4-216D-45EB-875A-DB63B4FA50DB}"/>
          </ac:spMkLst>
        </pc:spChg>
        <pc:grpChg chg="add del mod">
          <ac:chgData name="Richerzhagen, Bjoern (T CED WLN-DE)" userId="1be7a072-4164-461c-b9ed-ae3c5d97c1a8" providerId="ADAL" clId="{A27AFCC7-D8F6-44BC-A001-AAF1884E580A}" dt="2022-03-02T09:00:54.381" v="11905" actId="478"/>
          <ac:grpSpMkLst>
            <pc:docMk/>
            <pc:sldMk cId="1264718432" sldId="282"/>
            <ac:grpSpMk id="30" creationId="{7A3871EF-33A4-4F9E-BA1C-DD2591DA9D27}"/>
          </ac:grpSpMkLst>
        </pc:grpChg>
        <pc:grpChg chg="add mod">
          <ac:chgData name="Richerzhagen, Bjoern (T CED WLN-DE)" userId="1be7a072-4164-461c-b9ed-ae3c5d97c1a8" providerId="ADAL" clId="{A27AFCC7-D8F6-44BC-A001-AAF1884E580A}" dt="2022-03-02T09:00:45.693" v="11903"/>
          <ac:grpSpMkLst>
            <pc:docMk/>
            <pc:sldMk cId="1264718432" sldId="282"/>
            <ac:grpSpMk id="81" creationId="{A40F6192-0469-4A12-8FBF-8EB85B656F45}"/>
          </ac:grpSpMkLst>
        </pc:grpChg>
        <pc:grpChg chg="add mod">
          <ac:chgData name="Richerzhagen, Bjoern (T CED WLN-DE)" userId="1be7a072-4164-461c-b9ed-ae3c5d97c1a8" providerId="ADAL" clId="{A27AFCC7-D8F6-44BC-A001-AAF1884E580A}" dt="2022-03-02T09:00:45.693" v="11903"/>
          <ac:grpSpMkLst>
            <pc:docMk/>
            <pc:sldMk cId="1264718432" sldId="282"/>
            <ac:grpSpMk id="86" creationId="{5CD0CE72-8A52-4A1A-A5AA-E21EA2E2B5D8}"/>
          </ac:grpSpMkLst>
        </pc:grpChg>
        <pc:picChg chg="del">
          <ac:chgData name="Richerzhagen, Bjoern (T CED WLN-DE)" userId="1be7a072-4164-461c-b9ed-ae3c5d97c1a8" providerId="ADAL" clId="{A27AFCC7-D8F6-44BC-A001-AAF1884E580A}" dt="2022-02-28T13:55:20.366" v="4279" actId="478"/>
          <ac:picMkLst>
            <pc:docMk/>
            <pc:sldMk cId="1264718432" sldId="282"/>
            <ac:picMk id="29" creationId="{F73276CE-B2A8-473C-8CE2-F532C1DD282C}"/>
          </ac:picMkLst>
        </pc:picChg>
        <pc:picChg chg="add mod modCrop">
          <ac:chgData name="Richerzhagen, Bjoern (T CED WLN-DE)" userId="1be7a072-4164-461c-b9ed-ae3c5d97c1a8" providerId="ADAL" clId="{A27AFCC7-D8F6-44BC-A001-AAF1884E580A}" dt="2022-03-08T09:38:14.718" v="30963" actId="1076"/>
          <ac:picMkLst>
            <pc:docMk/>
            <pc:sldMk cId="1264718432" sldId="282"/>
            <ac:picMk id="45" creationId="{A7DED585-7C43-46D3-A80A-14C374B57BC8}"/>
          </ac:picMkLst>
        </pc:picChg>
        <pc:picChg chg="add del mod">
          <ac:chgData name="Richerzhagen, Bjoern (T CED WLN-DE)" userId="1be7a072-4164-461c-b9ed-ae3c5d97c1a8" providerId="ADAL" clId="{A27AFCC7-D8F6-44BC-A001-AAF1884E580A}" dt="2022-03-02T09:00:59.721" v="11910" actId="478"/>
          <ac:picMkLst>
            <pc:docMk/>
            <pc:sldMk cId="1264718432" sldId="282"/>
            <ac:picMk id="73" creationId="{F328012C-7B8A-4A05-BDA3-E7DB0BDE0CB0}"/>
          </ac:picMkLst>
        </pc:picChg>
        <pc:picChg chg="add del mod">
          <ac:chgData name="Richerzhagen, Bjoern (T CED WLN-DE)" userId="1be7a072-4164-461c-b9ed-ae3c5d97c1a8" providerId="ADAL" clId="{A27AFCC7-D8F6-44BC-A001-AAF1884E580A}" dt="2022-03-02T09:00:58.846" v="11909" actId="478"/>
          <ac:picMkLst>
            <pc:docMk/>
            <pc:sldMk cId="1264718432" sldId="282"/>
            <ac:picMk id="74" creationId="{4A6EC97E-32F0-4E87-92BD-1DC2962CD480}"/>
          </ac:picMkLst>
        </pc:picChg>
        <pc:picChg chg="add del mod">
          <ac:chgData name="Richerzhagen, Bjoern (T CED WLN-DE)" userId="1be7a072-4164-461c-b9ed-ae3c5d97c1a8" providerId="ADAL" clId="{A27AFCC7-D8F6-44BC-A001-AAF1884E580A}" dt="2022-03-02T09:00:57.334" v="11907" actId="478"/>
          <ac:picMkLst>
            <pc:docMk/>
            <pc:sldMk cId="1264718432" sldId="282"/>
            <ac:picMk id="75" creationId="{ECE4FF7A-1F87-4025-ABE8-6A4723EB466F}"/>
          </ac:picMkLst>
        </pc:picChg>
        <pc:picChg chg="add del mod modCrop">
          <ac:chgData name="Richerzhagen, Bjoern (T CED WLN-DE)" userId="1be7a072-4164-461c-b9ed-ae3c5d97c1a8" providerId="ADAL" clId="{A27AFCC7-D8F6-44BC-A001-AAF1884E580A}" dt="2022-03-02T09:00:58.234" v="11908" actId="478"/>
          <ac:picMkLst>
            <pc:docMk/>
            <pc:sldMk cId="1264718432" sldId="282"/>
            <ac:picMk id="77" creationId="{50C25A6B-205D-4894-B693-E8B2000E38AB}"/>
          </ac:picMkLst>
        </pc:picChg>
        <pc:picChg chg="add del mod">
          <ac:chgData name="Richerzhagen, Bjoern (T CED WLN-DE)" userId="1be7a072-4164-461c-b9ed-ae3c5d97c1a8" providerId="ADAL" clId="{A27AFCC7-D8F6-44BC-A001-AAF1884E580A}" dt="2022-03-02T09:00:56.201" v="11906" actId="478"/>
          <ac:picMkLst>
            <pc:docMk/>
            <pc:sldMk cId="1264718432" sldId="282"/>
            <ac:picMk id="78" creationId="{AD278E38-B056-4CAC-A1FC-32E1A45E4F91}"/>
          </ac:picMkLst>
        </pc:picChg>
        <pc:picChg chg="add del mod">
          <ac:chgData name="Richerzhagen, Bjoern (T CED WLN-DE)" userId="1be7a072-4164-461c-b9ed-ae3c5d97c1a8" providerId="ADAL" clId="{A27AFCC7-D8F6-44BC-A001-AAF1884E580A}" dt="2022-03-02T08:12:12.091" v="11644" actId="478"/>
          <ac:picMkLst>
            <pc:docMk/>
            <pc:sldMk cId="1264718432" sldId="282"/>
            <ac:picMk id="79" creationId="{96704E90-0170-4ACA-9F7D-E804E9E53652}"/>
          </ac:picMkLst>
        </pc:picChg>
        <pc:cxnChg chg="add del mod">
          <ac:chgData name="Richerzhagen, Bjoern (T CED WLN-DE)" userId="1be7a072-4164-461c-b9ed-ae3c5d97c1a8" providerId="ADAL" clId="{A27AFCC7-D8F6-44BC-A001-AAF1884E580A}" dt="2022-03-02T07:48:16.099" v="11172" actId="478"/>
          <ac:cxnSpMkLst>
            <pc:docMk/>
            <pc:sldMk cId="1264718432" sldId="282"/>
            <ac:cxnSpMk id="11" creationId="{44721EC4-D4A7-4E5F-AC24-E6A6E7ADD8B4}"/>
          </ac:cxnSpMkLst>
        </pc:cxnChg>
        <pc:cxnChg chg="add mod">
          <ac:chgData name="Richerzhagen, Bjoern (T CED WLN-DE)" userId="1be7a072-4164-461c-b9ed-ae3c5d97c1a8" providerId="ADAL" clId="{A27AFCC7-D8F6-44BC-A001-AAF1884E580A}" dt="2022-03-02T12:51:33.644" v="12626" actId="14100"/>
          <ac:cxnSpMkLst>
            <pc:docMk/>
            <pc:sldMk cId="1264718432" sldId="282"/>
            <ac:cxnSpMk id="39" creationId="{5DCB8449-898A-4C42-9710-8636210771FA}"/>
          </ac:cxnSpMkLst>
        </pc:cxnChg>
        <pc:cxnChg chg="add mod">
          <ac:chgData name="Richerzhagen, Bjoern (T CED WLN-DE)" userId="1be7a072-4164-461c-b9ed-ae3c5d97c1a8" providerId="ADAL" clId="{A27AFCC7-D8F6-44BC-A001-AAF1884E580A}" dt="2022-03-02T12:51:33.644" v="12626" actId="14100"/>
          <ac:cxnSpMkLst>
            <pc:docMk/>
            <pc:sldMk cId="1264718432" sldId="282"/>
            <ac:cxnSpMk id="41" creationId="{DF5810BA-978A-4112-8678-041F3AAEAC76}"/>
          </ac:cxnSpMkLst>
        </pc:cxnChg>
        <pc:cxnChg chg="add mod">
          <ac:chgData name="Richerzhagen, Bjoern (T CED WLN-DE)" userId="1be7a072-4164-461c-b9ed-ae3c5d97c1a8" providerId="ADAL" clId="{A27AFCC7-D8F6-44BC-A001-AAF1884E580A}" dt="2022-03-02T09:01:10.597" v="11911" actId="1076"/>
          <ac:cxnSpMkLst>
            <pc:docMk/>
            <pc:sldMk cId="1264718432" sldId="282"/>
            <ac:cxnSpMk id="44" creationId="{57FEDE7B-CACA-4D9C-90D3-A382381DF30F}"/>
          </ac:cxnSpMkLst>
        </pc:cxnChg>
        <pc:cxnChg chg="add mod">
          <ac:chgData name="Richerzhagen, Bjoern (T CED WLN-DE)" userId="1be7a072-4164-461c-b9ed-ae3c5d97c1a8" providerId="ADAL" clId="{A27AFCC7-D8F6-44BC-A001-AAF1884E580A}" dt="2022-03-02T12:51:38.167" v="12627" actId="14100"/>
          <ac:cxnSpMkLst>
            <pc:docMk/>
            <pc:sldMk cId="1264718432" sldId="282"/>
            <ac:cxnSpMk id="48" creationId="{BA9DD990-50BF-4926-8B78-A4753C860330}"/>
          </ac:cxnSpMkLst>
        </pc:cxnChg>
        <pc:cxnChg chg="add mod">
          <ac:chgData name="Richerzhagen, Bjoern (T CED WLN-DE)" userId="1be7a072-4164-461c-b9ed-ae3c5d97c1a8" providerId="ADAL" clId="{A27AFCC7-D8F6-44BC-A001-AAF1884E580A}" dt="2022-03-02T12:51:38.167" v="12627" actId="14100"/>
          <ac:cxnSpMkLst>
            <pc:docMk/>
            <pc:sldMk cId="1264718432" sldId="282"/>
            <ac:cxnSpMk id="51" creationId="{C6170100-750D-4200-BE64-9C6E1708AC02}"/>
          </ac:cxnSpMkLst>
        </pc:cxnChg>
        <pc:cxnChg chg="add mod">
          <ac:chgData name="Richerzhagen, Bjoern (T CED WLN-DE)" userId="1be7a072-4164-461c-b9ed-ae3c5d97c1a8" providerId="ADAL" clId="{A27AFCC7-D8F6-44BC-A001-AAF1884E580A}" dt="2022-03-02T12:51:38.167" v="12627" actId="14100"/>
          <ac:cxnSpMkLst>
            <pc:docMk/>
            <pc:sldMk cId="1264718432" sldId="282"/>
            <ac:cxnSpMk id="54" creationId="{E87B8501-A34B-486F-BD7A-0F843F3B8D73}"/>
          </ac:cxnSpMkLst>
        </pc:cxnChg>
        <pc:cxnChg chg="add mod">
          <ac:chgData name="Richerzhagen, Bjoern (T CED WLN-DE)" userId="1be7a072-4164-461c-b9ed-ae3c5d97c1a8" providerId="ADAL" clId="{A27AFCC7-D8F6-44BC-A001-AAF1884E580A}" dt="2022-03-02T09:01:10.597" v="11911" actId="1076"/>
          <ac:cxnSpMkLst>
            <pc:docMk/>
            <pc:sldMk cId="1264718432" sldId="282"/>
            <ac:cxnSpMk id="57" creationId="{A3DB4A0F-CB77-4093-A707-D0DB0B55B0FE}"/>
          </ac:cxnSpMkLst>
        </pc:cxnChg>
        <pc:cxnChg chg="add mod">
          <ac:chgData name="Richerzhagen, Bjoern (T CED WLN-DE)" userId="1be7a072-4164-461c-b9ed-ae3c5d97c1a8" providerId="ADAL" clId="{A27AFCC7-D8F6-44BC-A001-AAF1884E580A}" dt="2022-03-02T09:01:10.597" v="11911" actId="1076"/>
          <ac:cxnSpMkLst>
            <pc:docMk/>
            <pc:sldMk cId="1264718432" sldId="282"/>
            <ac:cxnSpMk id="60" creationId="{C0B9D80C-F4E6-460B-97C2-ABFAB7619EC0}"/>
          </ac:cxnSpMkLst>
        </pc:cxnChg>
        <pc:cxnChg chg="add mod">
          <ac:chgData name="Richerzhagen, Bjoern (T CED WLN-DE)" userId="1be7a072-4164-461c-b9ed-ae3c5d97c1a8" providerId="ADAL" clId="{A27AFCC7-D8F6-44BC-A001-AAF1884E580A}" dt="2022-03-02T12:51:38.167" v="12627" actId="14100"/>
          <ac:cxnSpMkLst>
            <pc:docMk/>
            <pc:sldMk cId="1264718432" sldId="282"/>
            <ac:cxnSpMk id="69" creationId="{15D00F5D-0D60-4F38-B930-4316BE01CA38}"/>
          </ac:cxnSpMkLst>
        </pc:cxnChg>
      </pc:sldChg>
      <pc:sldChg chg="addSp delSp modSp add del mod ord modShow chgLayout modNotes">
        <pc:chgData name="Richerzhagen, Bjoern (T CED WLN-DE)" userId="1be7a072-4164-461c-b9ed-ae3c5d97c1a8" providerId="ADAL" clId="{A27AFCC7-D8F6-44BC-A001-AAF1884E580A}" dt="2022-03-02T14:09:38.675" v="15107" actId="47"/>
        <pc:sldMkLst>
          <pc:docMk/>
          <pc:sldMk cId="2374581698" sldId="283"/>
        </pc:sldMkLst>
        <pc:spChg chg="mod ord">
          <ac:chgData name="Richerzhagen, Bjoern (T CED WLN-DE)" userId="1be7a072-4164-461c-b9ed-ae3c5d97c1a8" providerId="ADAL" clId="{A27AFCC7-D8F6-44BC-A001-AAF1884E580A}" dt="2022-02-28T13:40:18.278" v="4204" actId="700"/>
          <ac:spMkLst>
            <pc:docMk/>
            <pc:sldMk cId="2374581698" sldId="283"/>
            <ac:spMk id="4" creationId="{EDA2E8E9-22AB-4AD1-9C82-3D348D05D62E}"/>
          </ac:spMkLst>
        </pc:spChg>
        <pc:spChg chg="mod ord">
          <ac:chgData name="Richerzhagen, Bjoern (T CED WLN-DE)" userId="1be7a072-4164-461c-b9ed-ae3c5d97c1a8" providerId="ADAL" clId="{A27AFCC7-D8F6-44BC-A001-AAF1884E580A}" dt="2022-03-02T07:17:49.245" v="9766" actId="207"/>
          <ac:spMkLst>
            <pc:docMk/>
            <pc:sldMk cId="2374581698" sldId="283"/>
            <ac:spMk id="5" creationId="{30333122-4CB5-44EF-BDCB-FE8BCF4A1840}"/>
          </ac:spMkLst>
        </pc:spChg>
        <pc:spChg chg="mod">
          <ac:chgData name="Richerzhagen, Bjoern (T CED WLN-DE)" userId="1be7a072-4164-461c-b9ed-ae3c5d97c1a8" providerId="ADAL" clId="{A27AFCC7-D8F6-44BC-A001-AAF1884E580A}" dt="2022-02-25T07:25:34.468" v="1342" actId="20577"/>
          <ac:spMkLst>
            <pc:docMk/>
            <pc:sldMk cId="2374581698" sldId="283"/>
            <ac:spMk id="6" creationId="{39CF1D87-9599-4A41-A263-BC9C4B92FDAF}"/>
          </ac:spMkLst>
        </pc:spChg>
        <pc:spChg chg="mod">
          <ac:chgData name="Richerzhagen, Bjoern (T CED WLN-DE)" userId="1be7a072-4164-461c-b9ed-ae3c5d97c1a8" providerId="ADAL" clId="{A27AFCC7-D8F6-44BC-A001-AAF1884E580A}" dt="2022-02-28T13:40:21.016" v="4205" actId="207"/>
          <ac:spMkLst>
            <pc:docMk/>
            <pc:sldMk cId="2374581698" sldId="283"/>
            <ac:spMk id="9" creationId="{936F1348-EE86-4B87-9391-642A20E01B4E}"/>
          </ac:spMkLst>
        </pc:spChg>
        <pc:spChg chg="add mod">
          <ac:chgData name="Richerzhagen, Bjoern (T CED WLN-DE)" userId="1be7a072-4164-461c-b9ed-ae3c5d97c1a8" providerId="ADAL" clId="{A27AFCC7-D8F6-44BC-A001-AAF1884E580A}" dt="2022-03-02T08:26:56.752" v="11810" actId="20577"/>
          <ac:spMkLst>
            <pc:docMk/>
            <pc:sldMk cId="2374581698" sldId="283"/>
            <ac:spMk id="13" creationId="{4CA42BFD-D8D4-44F0-81C2-C0DCBCEC5AD1}"/>
          </ac:spMkLst>
        </pc:spChg>
        <pc:spChg chg="add mod">
          <ac:chgData name="Richerzhagen, Bjoern (T CED WLN-DE)" userId="1be7a072-4164-461c-b9ed-ae3c5d97c1a8" providerId="ADAL" clId="{A27AFCC7-D8F6-44BC-A001-AAF1884E580A}" dt="2022-03-02T08:19:01.039" v="11655"/>
          <ac:spMkLst>
            <pc:docMk/>
            <pc:sldMk cId="2374581698" sldId="283"/>
            <ac:spMk id="14" creationId="{0E249599-2405-44C5-93E8-922282BBFD24}"/>
          </ac:spMkLst>
        </pc:spChg>
        <pc:spChg chg="mod">
          <ac:chgData name="Richerzhagen, Bjoern (T CED WLN-DE)" userId="1be7a072-4164-461c-b9ed-ae3c5d97c1a8" providerId="ADAL" clId="{A27AFCC7-D8F6-44BC-A001-AAF1884E580A}" dt="2022-03-02T08:19:01.039" v="11655"/>
          <ac:spMkLst>
            <pc:docMk/>
            <pc:sldMk cId="2374581698" sldId="283"/>
            <ac:spMk id="18" creationId="{82AABBA6-861E-4E27-9C04-54B05606474F}"/>
          </ac:spMkLst>
        </pc:spChg>
        <pc:spChg chg="mod">
          <ac:chgData name="Richerzhagen, Bjoern (T CED WLN-DE)" userId="1be7a072-4164-461c-b9ed-ae3c5d97c1a8" providerId="ADAL" clId="{A27AFCC7-D8F6-44BC-A001-AAF1884E580A}" dt="2022-03-02T08:19:01.039" v="11655"/>
          <ac:spMkLst>
            <pc:docMk/>
            <pc:sldMk cId="2374581698" sldId="283"/>
            <ac:spMk id="19" creationId="{490DFE24-930E-4381-8D21-E6C64F8AF330}"/>
          </ac:spMkLst>
        </pc:spChg>
        <pc:spChg chg="mod">
          <ac:chgData name="Richerzhagen, Bjoern (T CED WLN-DE)" userId="1be7a072-4164-461c-b9ed-ae3c5d97c1a8" providerId="ADAL" clId="{A27AFCC7-D8F6-44BC-A001-AAF1884E580A}" dt="2022-03-02T08:19:01.039" v="11655"/>
          <ac:spMkLst>
            <pc:docMk/>
            <pc:sldMk cId="2374581698" sldId="283"/>
            <ac:spMk id="20" creationId="{E3F9AB67-5BC8-4D97-BA73-3DBAAEF2674D}"/>
          </ac:spMkLst>
        </pc:spChg>
        <pc:spChg chg="mod">
          <ac:chgData name="Richerzhagen, Bjoern (T CED WLN-DE)" userId="1be7a072-4164-461c-b9ed-ae3c5d97c1a8" providerId="ADAL" clId="{A27AFCC7-D8F6-44BC-A001-AAF1884E580A}" dt="2022-03-02T08:19:01.039" v="11655"/>
          <ac:spMkLst>
            <pc:docMk/>
            <pc:sldMk cId="2374581698" sldId="283"/>
            <ac:spMk id="25" creationId="{EA01C3C2-7906-4017-9105-FA3068AE669F}"/>
          </ac:spMkLst>
        </pc:spChg>
        <pc:grpChg chg="add mod">
          <ac:chgData name="Richerzhagen, Bjoern (T CED WLN-DE)" userId="1be7a072-4164-461c-b9ed-ae3c5d97c1a8" providerId="ADAL" clId="{A27AFCC7-D8F6-44BC-A001-AAF1884E580A}" dt="2022-03-02T08:19:01.039" v="11655"/>
          <ac:grpSpMkLst>
            <pc:docMk/>
            <pc:sldMk cId="2374581698" sldId="283"/>
            <ac:grpSpMk id="15" creationId="{1AFE6673-B84C-46D1-AC82-A59D7A56A39B}"/>
          </ac:grpSpMkLst>
        </pc:grpChg>
        <pc:picChg chg="del">
          <ac:chgData name="Richerzhagen, Bjoern (T CED WLN-DE)" userId="1be7a072-4164-461c-b9ed-ae3c5d97c1a8" providerId="ADAL" clId="{A27AFCC7-D8F6-44BC-A001-AAF1884E580A}" dt="2022-02-28T13:55:22.303" v="4280" actId="478"/>
          <ac:picMkLst>
            <pc:docMk/>
            <pc:sldMk cId="2374581698" sldId="283"/>
            <ac:picMk id="29" creationId="{F73276CE-B2A8-473C-8CE2-F532C1DD282C}"/>
          </ac:picMkLst>
        </pc:picChg>
      </pc:sldChg>
      <pc:sldChg chg="addSp delSp modSp add mod chgLayout modNotes modNotesTx">
        <pc:chgData name="Richerzhagen, Bjoern (T CED WLN-DE)" userId="1be7a072-4164-461c-b9ed-ae3c5d97c1a8" providerId="ADAL" clId="{A27AFCC7-D8F6-44BC-A001-AAF1884E580A}" dt="2022-03-08T10:23:58.778" v="37296" actId="20577"/>
        <pc:sldMkLst>
          <pc:docMk/>
          <pc:sldMk cId="4059184984" sldId="284"/>
        </pc:sldMkLst>
        <pc:spChg chg="mod ord">
          <ac:chgData name="Richerzhagen, Bjoern (T CED WLN-DE)" userId="1be7a072-4164-461c-b9ed-ae3c5d97c1a8" providerId="ADAL" clId="{A27AFCC7-D8F6-44BC-A001-AAF1884E580A}" dt="2022-02-28T13:40:33.891" v="4208" actId="700"/>
          <ac:spMkLst>
            <pc:docMk/>
            <pc:sldMk cId="4059184984" sldId="284"/>
            <ac:spMk id="4" creationId="{EDA2E8E9-22AB-4AD1-9C82-3D348D05D62E}"/>
          </ac:spMkLst>
        </pc:spChg>
        <pc:spChg chg="mod ord">
          <ac:chgData name="Richerzhagen, Bjoern (T CED WLN-DE)" userId="1be7a072-4164-461c-b9ed-ae3c5d97c1a8" providerId="ADAL" clId="{A27AFCC7-D8F6-44BC-A001-AAF1884E580A}" dt="2022-03-02T13:45:44.979" v="14030" actId="113"/>
          <ac:spMkLst>
            <pc:docMk/>
            <pc:sldMk cId="4059184984" sldId="284"/>
            <ac:spMk id="5" creationId="{30333122-4CB5-44EF-BDCB-FE8BCF4A1840}"/>
          </ac:spMkLst>
        </pc:spChg>
        <pc:spChg chg="mod">
          <ac:chgData name="Richerzhagen, Bjoern (T CED WLN-DE)" userId="1be7a072-4164-461c-b9ed-ae3c5d97c1a8" providerId="ADAL" clId="{A27AFCC7-D8F6-44BC-A001-AAF1884E580A}" dt="2022-02-25T07:25:38.576" v="1350" actId="20577"/>
          <ac:spMkLst>
            <pc:docMk/>
            <pc:sldMk cId="4059184984" sldId="284"/>
            <ac:spMk id="6" creationId="{39CF1D87-9599-4A41-A263-BC9C4B92FDAF}"/>
          </ac:spMkLst>
        </pc:spChg>
        <pc:spChg chg="add mod topLvl">
          <ac:chgData name="Richerzhagen, Bjoern (T CED WLN-DE)" userId="1be7a072-4164-461c-b9ed-ae3c5d97c1a8" providerId="ADAL" clId="{A27AFCC7-D8F6-44BC-A001-AAF1884E580A}" dt="2022-03-02T13:09:31.014" v="13177" actId="165"/>
          <ac:spMkLst>
            <pc:docMk/>
            <pc:sldMk cId="4059184984" sldId="284"/>
            <ac:spMk id="7" creationId="{6A75DEAA-75BB-40AC-B7D2-AFB092943793}"/>
          </ac:spMkLst>
        </pc:spChg>
        <pc:spChg chg="mod">
          <ac:chgData name="Richerzhagen, Bjoern (T CED WLN-DE)" userId="1be7a072-4164-461c-b9ed-ae3c5d97c1a8" providerId="ADAL" clId="{A27AFCC7-D8F6-44BC-A001-AAF1884E580A}" dt="2022-02-28T13:40:36.221" v="4209" actId="207"/>
          <ac:spMkLst>
            <pc:docMk/>
            <pc:sldMk cId="4059184984" sldId="284"/>
            <ac:spMk id="9" creationId="{936F1348-EE86-4B87-9391-642A20E01B4E}"/>
          </ac:spMkLst>
        </pc:spChg>
        <pc:spChg chg="add del mod">
          <ac:chgData name="Richerzhagen, Bjoern (T CED WLN-DE)" userId="1be7a072-4164-461c-b9ed-ae3c5d97c1a8" providerId="ADAL" clId="{A27AFCC7-D8F6-44BC-A001-AAF1884E580A}" dt="2022-03-02T13:16:59.279" v="13385" actId="478"/>
          <ac:spMkLst>
            <pc:docMk/>
            <pc:sldMk cId="4059184984" sldId="284"/>
            <ac:spMk id="13" creationId="{BE476DEA-7658-4E3D-A11A-EAEB316378E3}"/>
          </ac:spMkLst>
        </pc:spChg>
        <pc:spChg chg="add del mod">
          <ac:chgData name="Richerzhagen, Bjoern (T CED WLN-DE)" userId="1be7a072-4164-461c-b9ed-ae3c5d97c1a8" providerId="ADAL" clId="{A27AFCC7-D8F6-44BC-A001-AAF1884E580A}" dt="2022-03-02T13:08:36.429" v="13123" actId="478"/>
          <ac:spMkLst>
            <pc:docMk/>
            <pc:sldMk cId="4059184984" sldId="284"/>
            <ac:spMk id="14" creationId="{FAC0CCF8-3099-4CA6-BEAC-BDEBE69DB850}"/>
          </ac:spMkLst>
        </pc:spChg>
        <pc:spChg chg="mod">
          <ac:chgData name="Richerzhagen, Bjoern (T CED WLN-DE)" userId="1be7a072-4164-461c-b9ed-ae3c5d97c1a8" providerId="ADAL" clId="{A27AFCC7-D8F6-44BC-A001-AAF1884E580A}" dt="2022-03-02T08:19:50.732" v="11656"/>
          <ac:spMkLst>
            <pc:docMk/>
            <pc:sldMk cId="4059184984" sldId="284"/>
            <ac:spMk id="18" creationId="{51937914-4151-4EC8-A193-EAF1CBD38C6D}"/>
          </ac:spMkLst>
        </pc:spChg>
        <pc:spChg chg="mod">
          <ac:chgData name="Richerzhagen, Bjoern (T CED WLN-DE)" userId="1be7a072-4164-461c-b9ed-ae3c5d97c1a8" providerId="ADAL" clId="{A27AFCC7-D8F6-44BC-A001-AAF1884E580A}" dt="2022-03-02T08:19:50.732" v="11656"/>
          <ac:spMkLst>
            <pc:docMk/>
            <pc:sldMk cId="4059184984" sldId="284"/>
            <ac:spMk id="19" creationId="{F24E5CF0-6FC5-4F4F-B80D-C0668A2BFBC3}"/>
          </ac:spMkLst>
        </pc:spChg>
        <pc:spChg chg="mod">
          <ac:chgData name="Richerzhagen, Bjoern (T CED WLN-DE)" userId="1be7a072-4164-461c-b9ed-ae3c5d97c1a8" providerId="ADAL" clId="{A27AFCC7-D8F6-44BC-A001-AAF1884E580A}" dt="2022-03-02T08:19:50.732" v="11656"/>
          <ac:spMkLst>
            <pc:docMk/>
            <pc:sldMk cId="4059184984" sldId="284"/>
            <ac:spMk id="20" creationId="{5730EDFF-9323-45E4-B626-CFEAC4717ACD}"/>
          </ac:spMkLst>
        </pc:spChg>
        <pc:spChg chg="mod">
          <ac:chgData name="Richerzhagen, Bjoern (T CED WLN-DE)" userId="1be7a072-4164-461c-b9ed-ae3c5d97c1a8" providerId="ADAL" clId="{A27AFCC7-D8F6-44BC-A001-AAF1884E580A}" dt="2022-03-02T08:19:50.732" v="11656"/>
          <ac:spMkLst>
            <pc:docMk/>
            <pc:sldMk cId="4059184984" sldId="284"/>
            <ac:spMk id="25" creationId="{DF774DC0-A981-4BE2-A0DC-1E34BA9BC40D}"/>
          </ac:spMkLst>
        </pc:spChg>
        <pc:spChg chg="add del mod">
          <ac:chgData name="Richerzhagen, Bjoern (T CED WLN-DE)" userId="1be7a072-4164-461c-b9ed-ae3c5d97c1a8" providerId="ADAL" clId="{A27AFCC7-D8F6-44BC-A001-AAF1884E580A}" dt="2022-03-02T12:57:08.383" v="12834"/>
          <ac:spMkLst>
            <pc:docMk/>
            <pc:sldMk cId="4059184984" sldId="284"/>
            <ac:spMk id="26" creationId="{535D219D-53C3-4A8D-A9B7-BF06CAC3DD05}"/>
          </ac:spMkLst>
        </pc:spChg>
        <pc:spChg chg="add del mod">
          <ac:chgData name="Richerzhagen, Bjoern (T CED WLN-DE)" userId="1be7a072-4164-461c-b9ed-ae3c5d97c1a8" providerId="ADAL" clId="{A27AFCC7-D8F6-44BC-A001-AAF1884E580A}" dt="2022-03-02T12:57:08.383" v="12834"/>
          <ac:spMkLst>
            <pc:docMk/>
            <pc:sldMk cId="4059184984" sldId="284"/>
            <ac:spMk id="27" creationId="{ECEF930B-C0BF-454C-AD99-0BD311AF33D4}"/>
          </ac:spMkLst>
        </pc:spChg>
        <pc:spChg chg="add del mod">
          <ac:chgData name="Richerzhagen, Bjoern (T CED WLN-DE)" userId="1be7a072-4164-461c-b9ed-ae3c5d97c1a8" providerId="ADAL" clId="{A27AFCC7-D8F6-44BC-A001-AAF1884E580A}" dt="2022-03-02T12:57:08.383" v="12834"/>
          <ac:spMkLst>
            <pc:docMk/>
            <pc:sldMk cId="4059184984" sldId="284"/>
            <ac:spMk id="28" creationId="{60C2CB20-02CD-43F0-9372-C8E03B5430E2}"/>
          </ac:spMkLst>
        </pc:spChg>
        <pc:spChg chg="add del mod">
          <ac:chgData name="Richerzhagen, Bjoern (T CED WLN-DE)" userId="1be7a072-4164-461c-b9ed-ae3c5d97c1a8" providerId="ADAL" clId="{A27AFCC7-D8F6-44BC-A001-AAF1884E580A}" dt="2022-03-02T12:57:08.383" v="12834"/>
          <ac:spMkLst>
            <pc:docMk/>
            <pc:sldMk cId="4059184984" sldId="284"/>
            <ac:spMk id="29" creationId="{D3F88EB9-F719-4156-98F2-3FC5EEA50478}"/>
          </ac:spMkLst>
        </pc:spChg>
        <pc:spChg chg="add del mod">
          <ac:chgData name="Richerzhagen, Bjoern (T CED WLN-DE)" userId="1be7a072-4164-461c-b9ed-ae3c5d97c1a8" providerId="ADAL" clId="{A27AFCC7-D8F6-44BC-A001-AAF1884E580A}" dt="2022-03-02T12:57:08.383" v="12834"/>
          <ac:spMkLst>
            <pc:docMk/>
            <pc:sldMk cId="4059184984" sldId="284"/>
            <ac:spMk id="30" creationId="{3044AF77-0FB9-4490-9C98-1F4A60E6C793}"/>
          </ac:spMkLst>
        </pc:spChg>
        <pc:spChg chg="add del mod">
          <ac:chgData name="Richerzhagen, Bjoern (T CED WLN-DE)" userId="1be7a072-4164-461c-b9ed-ae3c5d97c1a8" providerId="ADAL" clId="{A27AFCC7-D8F6-44BC-A001-AAF1884E580A}" dt="2022-03-02T12:57:08.383" v="12834"/>
          <ac:spMkLst>
            <pc:docMk/>
            <pc:sldMk cId="4059184984" sldId="284"/>
            <ac:spMk id="31" creationId="{0445DD98-0EC7-40C1-A8C4-9E83B922F51D}"/>
          </ac:spMkLst>
        </pc:spChg>
        <pc:spChg chg="add del mod">
          <ac:chgData name="Richerzhagen, Bjoern (T CED WLN-DE)" userId="1be7a072-4164-461c-b9ed-ae3c5d97c1a8" providerId="ADAL" clId="{A27AFCC7-D8F6-44BC-A001-AAF1884E580A}" dt="2022-03-02T12:57:08.383" v="12834"/>
          <ac:spMkLst>
            <pc:docMk/>
            <pc:sldMk cId="4059184984" sldId="284"/>
            <ac:spMk id="32" creationId="{06793443-0136-4000-AB93-4FAF46108683}"/>
          </ac:spMkLst>
        </pc:spChg>
        <pc:spChg chg="add del mod">
          <ac:chgData name="Richerzhagen, Bjoern (T CED WLN-DE)" userId="1be7a072-4164-461c-b9ed-ae3c5d97c1a8" providerId="ADAL" clId="{A27AFCC7-D8F6-44BC-A001-AAF1884E580A}" dt="2022-03-02T12:57:08.383" v="12834"/>
          <ac:spMkLst>
            <pc:docMk/>
            <pc:sldMk cId="4059184984" sldId="284"/>
            <ac:spMk id="36" creationId="{80F97BE5-10A3-41B7-AD74-7B2B0DB7C241}"/>
          </ac:spMkLst>
        </pc:spChg>
        <pc:spChg chg="add del mod">
          <ac:chgData name="Richerzhagen, Bjoern (T CED WLN-DE)" userId="1be7a072-4164-461c-b9ed-ae3c5d97c1a8" providerId="ADAL" clId="{A27AFCC7-D8F6-44BC-A001-AAF1884E580A}" dt="2022-03-02T12:57:08.383" v="12834"/>
          <ac:spMkLst>
            <pc:docMk/>
            <pc:sldMk cId="4059184984" sldId="284"/>
            <ac:spMk id="37" creationId="{4928C6B0-DABF-46F8-BD38-A0DA67E10C16}"/>
          </ac:spMkLst>
        </pc:spChg>
        <pc:spChg chg="add del mod">
          <ac:chgData name="Richerzhagen, Bjoern (T CED WLN-DE)" userId="1be7a072-4164-461c-b9ed-ae3c5d97c1a8" providerId="ADAL" clId="{A27AFCC7-D8F6-44BC-A001-AAF1884E580A}" dt="2022-03-02T12:57:08.383" v="12834"/>
          <ac:spMkLst>
            <pc:docMk/>
            <pc:sldMk cId="4059184984" sldId="284"/>
            <ac:spMk id="41" creationId="{1ECA2EE0-3CE9-4DDB-AD7B-1B8FBB6A1742}"/>
          </ac:spMkLst>
        </pc:spChg>
        <pc:spChg chg="add del mod">
          <ac:chgData name="Richerzhagen, Bjoern (T CED WLN-DE)" userId="1be7a072-4164-461c-b9ed-ae3c5d97c1a8" providerId="ADAL" clId="{A27AFCC7-D8F6-44BC-A001-AAF1884E580A}" dt="2022-03-02T12:57:08.383" v="12834"/>
          <ac:spMkLst>
            <pc:docMk/>
            <pc:sldMk cId="4059184984" sldId="284"/>
            <ac:spMk id="42" creationId="{01770AE2-BFB4-4AAA-A5A6-005333355150}"/>
          </ac:spMkLst>
        </pc:spChg>
        <pc:spChg chg="add del mod">
          <ac:chgData name="Richerzhagen, Bjoern (T CED WLN-DE)" userId="1be7a072-4164-461c-b9ed-ae3c5d97c1a8" providerId="ADAL" clId="{A27AFCC7-D8F6-44BC-A001-AAF1884E580A}" dt="2022-03-02T12:57:08.383" v="12834"/>
          <ac:spMkLst>
            <pc:docMk/>
            <pc:sldMk cId="4059184984" sldId="284"/>
            <ac:spMk id="46" creationId="{CFC81ABB-0B52-4826-BD50-6196AECE1F33}"/>
          </ac:spMkLst>
        </pc:spChg>
        <pc:spChg chg="add del mod">
          <ac:chgData name="Richerzhagen, Bjoern (T CED WLN-DE)" userId="1be7a072-4164-461c-b9ed-ae3c5d97c1a8" providerId="ADAL" clId="{A27AFCC7-D8F6-44BC-A001-AAF1884E580A}" dt="2022-03-02T12:57:08.383" v="12834"/>
          <ac:spMkLst>
            <pc:docMk/>
            <pc:sldMk cId="4059184984" sldId="284"/>
            <ac:spMk id="47" creationId="{FD5323B8-F3A6-4563-AB7C-05EF2934C168}"/>
          </ac:spMkLst>
        </pc:spChg>
        <pc:spChg chg="add del mod">
          <ac:chgData name="Richerzhagen, Bjoern (T CED WLN-DE)" userId="1be7a072-4164-461c-b9ed-ae3c5d97c1a8" providerId="ADAL" clId="{A27AFCC7-D8F6-44BC-A001-AAF1884E580A}" dt="2022-03-02T12:57:08.383" v="12834"/>
          <ac:spMkLst>
            <pc:docMk/>
            <pc:sldMk cId="4059184984" sldId="284"/>
            <ac:spMk id="48" creationId="{BC3D72FA-BB99-4202-BD5C-398BECAB3BA1}"/>
          </ac:spMkLst>
        </pc:spChg>
        <pc:spChg chg="add del mod">
          <ac:chgData name="Richerzhagen, Bjoern (T CED WLN-DE)" userId="1be7a072-4164-461c-b9ed-ae3c5d97c1a8" providerId="ADAL" clId="{A27AFCC7-D8F6-44BC-A001-AAF1884E580A}" dt="2022-03-02T12:57:08.383" v="12834"/>
          <ac:spMkLst>
            <pc:docMk/>
            <pc:sldMk cId="4059184984" sldId="284"/>
            <ac:spMk id="50" creationId="{2F0525A0-E716-4525-B7C2-E02763A34E34}"/>
          </ac:spMkLst>
        </pc:spChg>
        <pc:spChg chg="add del mod">
          <ac:chgData name="Richerzhagen, Bjoern (T CED WLN-DE)" userId="1be7a072-4164-461c-b9ed-ae3c5d97c1a8" providerId="ADAL" clId="{A27AFCC7-D8F6-44BC-A001-AAF1884E580A}" dt="2022-03-02T12:57:08.383" v="12834"/>
          <ac:spMkLst>
            <pc:docMk/>
            <pc:sldMk cId="4059184984" sldId="284"/>
            <ac:spMk id="52" creationId="{E5F2193C-DA21-4085-BBD4-8320B76959EA}"/>
          </ac:spMkLst>
        </pc:spChg>
        <pc:spChg chg="add del mod">
          <ac:chgData name="Richerzhagen, Bjoern (T CED WLN-DE)" userId="1be7a072-4164-461c-b9ed-ae3c5d97c1a8" providerId="ADAL" clId="{A27AFCC7-D8F6-44BC-A001-AAF1884E580A}" dt="2022-03-02T12:57:08.383" v="12834"/>
          <ac:spMkLst>
            <pc:docMk/>
            <pc:sldMk cId="4059184984" sldId="284"/>
            <ac:spMk id="53" creationId="{B8CE1155-DA94-4D27-9AB4-B22FE8B1C8B7}"/>
          </ac:spMkLst>
        </pc:spChg>
        <pc:spChg chg="add del mod">
          <ac:chgData name="Richerzhagen, Bjoern (T CED WLN-DE)" userId="1be7a072-4164-461c-b9ed-ae3c5d97c1a8" providerId="ADAL" clId="{A27AFCC7-D8F6-44BC-A001-AAF1884E580A}" dt="2022-03-02T12:57:08.383" v="12834"/>
          <ac:spMkLst>
            <pc:docMk/>
            <pc:sldMk cId="4059184984" sldId="284"/>
            <ac:spMk id="54" creationId="{F89E8FBE-7018-4204-9A8C-F64C77151987}"/>
          </ac:spMkLst>
        </pc:spChg>
        <pc:spChg chg="add del mod">
          <ac:chgData name="Richerzhagen, Bjoern (T CED WLN-DE)" userId="1be7a072-4164-461c-b9ed-ae3c5d97c1a8" providerId="ADAL" clId="{A27AFCC7-D8F6-44BC-A001-AAF1884E580A}" dt="2022-03-02T12:57:08.383" v="12834"/>
          <ac:spMkLst>
            <pc:docMk/>
            <pc:sldMk cId="4059184984" sldId="284"/>
            <ac:spMk id="57" creationId="{3E35DB65-21F0-4BC3-A9F1-55EF6D714467}"/>
          </ac:spMkLst>
        </pc:spChg>
        <pc:spChg chg="add del mod">
          <ac:chgData name="Richerzhagen, Bjoern (T CED WLN-DE)" userId="1be7a072-4164-461c-b9ed-ae3c5d97c1a8" providerId="ADAL" clId="{A27AFCC7-D8F6-44BC-A001-AAF1884E580A}" dt="2022-03-02T12:57:08.383" v="12834"/>
          <ac:spMkLst>
            <pc:docMk/>
            <pc:sldMk cId="4059184984" sldId="284"/>
            <ac:spMk id="58" creationId="{2BE9B581-A6C1-4A88-AFA2-0E1C052BE572}"/>
          </ac:spMkLst>
        </pc:spChg>
        <pc:spChg chg="add mod topLvl">
          <ac:chgData name="Richerzhagen, Bjoern (T CED WLN-DE)" userId="1be7a072-4164-461c-b9ed-ae3c5d97c1a8" providerId="ADAL" clId="{A27AFCC7-D8F6-44BC-A001-AAF1884E580A}" dt="2022-03-02T13:25:35.078" v="13583" actId="20577"/>
          <ac:spMkLst>
            <pc:docMk/>
            <pc:sldMk cId="4059184984" sldId="284"/>
            <ac:spMk id="59" creationId="{0804DC15-DDB5-4AE0-952E-E85AC1B7A9CF}"/>
          </ac:spMkLst>
        </pc:spChg>
        <pc:spChg chg="add mod topLvl">
          <ac:chgData name="Richerzhagen, Bjoern (T CED WLN-DE)" userId="1be7a072-4164-461c-b9ed-ae3c5d97c1a8" providerId="ADAL" clId="{A27AFCC7-D8F6-44BC-A001-AAF1884E580A}" dt="2022-03-02T13:09:31.014" v="13177" actId="165"/>
          <ac:spMkLst>
            <pc:docMk/>
            <pc:sldMk cId="4059184984" sldId="284"/>
            <ac:spMk id="60" creationId="{8C9F1006-33F1-4751-86CE-9843B2A8403F}"/>
          </ac:spMkLst>
        </pc:spChg>
        <pc:spChg chg="add mod topLvl">
          <ac:chgData name="Richerzhagen, Bjoern (T CED WLN-DE)" userId="1be7a072-4164-461c-b9ed-ae3c5d97c1a8" providerId="ADAL" clId="{A27AFCC7-D8F6-44BC-A001-AAF1884E580A}" dt="2022-03-02T13:24:19.854" v="13552" actId="20577"/>
          <ac:spMkLst>
            <pc:docMk/>
            <pc:sldMk cId="4059184984" sldId="284"/>
            <ac:spMk id="61" creationId="{DB05FD96-B7B5-43AF-ACA7-1119120E0904}"/>
          </ac:spMkLst>
        </pc:spChg>
        <pc:spChg chg="add mod topLvl">
          <ac:chgData name="Richerzhagen, Bjoern (T CED WLN-DE)" userId="1be7a072-4164-461c-b9ed-ae3c5d97c1a8" providerId="ADAL" clId="{A27AFCC7-D8F6-44BC-A001-AAF1884E580A}" dt="2022-03-02T13:09:31.014" v="13177" actId="165"/>
          <ac:spMkLst>
            <pc:docMk/>
            <pc:sldMk cId="4059184984" sldId="284"/>
            <ac:spMk id="62" creationId="{B6B21ED4-6C14-4F1D-A906-878C8A5D1C28}"/>
          </ac:spMkLst>
        </pc:spChg>
        <pc:spChg chg="add mod topLvl">
          <ac:chgData name="Richerzhagen, Bjoern (T CED WLN-DE)" userId="1be7a072-4164-461c-b9ed-ae3c5d97c1a8" providerId="ADAL" clId="{A27AFCC7-D8F6-44BC-A001-AAF1884E580A}" dt="2022-03-02T13:09:31.014" v="13177" actId="165"/>
          <ac:spMkLst>
            <pc:docMk/>
            <pc:sldMk cId="4059184984" sldId="284"/>
            <ac:spMk id="63" creationId="{4D6B2AD5-0DEF-478E-86E1-A2960D6BBCAE}"/>
          </ac:spMkLst>
        </pc:spChg>
        <pc:spChg chg="add mod topLvl">
          <ac:chgData name="Richerzhagen, Bjoern (T CED WLN-DE)" userId="1be7a072-4164-461c-b9ed-ae3c5d97c1a8" providerId="ADAL" clId="{A27AFCC7-D8F6-44BC-A001-AAF1884E580A}" dt="2022-03-02T13:20:42.196" v="13467" actId="208"/>
          <ac:spMkLst>
            <pc:docMk/>
            <pc:sldMk cId="4059184984" sldId="284"/>
            <ac:spMk id="64" creationId="{0BEBF584-D476-43CE-AF6B-65FC4E27BA75}"/>
          </ac:spMkLst>
        </pc:spChg>
        <pc:spChg chg="add mod topLvl">
          <ac:chgData name="Richerzhagen, Bjoern (T CED WLN-DE)" userId="1be7a072-4164-461c-b9ed-ae3c5d97c1a8" providerId="ADAL" clId="{A27AFCC7-D8F6-44BC-A001-AAF1884E580A}" dt="2022-03-02T13:09:31.014" v="13177" actId="165"/>
          <ac:spMkLst>
            <pc:docMk/>
            <pc:sldMk cId="4059184984" sldId="284"/>
            <ac:spMk id="65" creationId="{0CC56341-D62E-4613-8F02-3EA2A4AD14B8}"/>
          </ac:spMkLst>
        </pc:spChg>
        <pc:spChg chg="add mod topLvl">
          <ac:chgData name="Richerzhagen, Bjoern (T CED WLN-DE)" userId="1be7a072-4164-461c-b9ed-ae3c5d97c1a8" providerId="ADAL" clId="{A27AFCC7-D8F6-44BC-A001-AAF1884E580A}" dt="2022-03-02T13:20:42.196" v="13467" actId="208"/>
          <ac:spMkLst>
            <pc:docMk/>
            <pc:sldMk cId="4059184984" sldId="284"/>
            <ac:spMk id="69" creationId="{38516A6A-DB82-4DAB-868A-5E15DFADC16C}"/>
          </ac:spMkLst>
        </pc:spChg>
        <pc:spChg chg="add mod topLvl">
          <ac:chgData name="Richerzhagen, Bjoern (T CED WLN-DE)" userId="1be7a072-4164-461c-b9ed-ae3c5d97c1a8" providerId="ADAL" clId="{A27AFCC7-D8F6-44BC-A001-AAF1884E580A}" dt="2022-03-02T13:09:31.014" v="13177" actId="165"/>
          <ac:spMkLst>
            <pc:docMk/>
            <pc:sldMk cId="4059184984" sldId="284"/>
            <ac:spMk id="70" creationId="{6D47E1A5-E2D4-4B78-8BE5-281A0C20BD90}"/>
          </ac:spMkLst>
        </pc:spChg>
        <pc:spChg chg="add mod topLvl">
          <ac:chgData name="Richerzhagen, Bjoern (T CED WLN-DE)" userId="1be7a072-4164-461c-b9ed-ae3c5d97c1a8" providerId="ADAL" clId="{A27AFCC7-D8F6-44BC-A001-AAF1884E580A}" dt="2022-03-02T13:20:42.196" v="13467" actId="208"/>
          <ac:spMkLst>
            <pc:docMk/>
            <pc:sldMk cId="4059184984" sldId="284"/>
            <ac:spMk id="74" creationId="{9FA660D6-A591-4D4B-AE3E-0F793724AF46}"/>
          </ac:spMkLst>
        </pc:spChg>
        <pc:spChg chg="add mod topLvl">
          <ac:chgData name="Richerzhagen, Bjoern (T CED WLN-DE)" userId="1be7a072-4164-461c-b9ed-ae3c5d97c1a8" providerId="ADAL" clId="{A27AFCC7-D8F6-44BC-A001-AAF1884E580A}" dt="2022-03-02T13:09:31.014" v="13177" actId="165"/>
          <ac:spMkLst>
            <pc:docMk/>
            <pc:sldMk cId="4059184984" sldId="284"/>
            <ac:spMk id="75" creationId="{6176FC74-2234-48D9-927F-F106C860608F}"/>
          </ac:spMkLst>
        </pc:spChg>
        <pc:spChg chg="add mod topLvl">
          <ac:chgData name="Richerzhagen, Bjoern (T CED WLN-DE)" userId="1be7a072-4164-461c-b9ed-ae3c5d97c1a8" providerId="ADAL" clId="{A27AFCC7-D8F6-44BC-A001-AAF1884E580A}" dt="2022-03-02T13:09:31.014" v="13177" actId="165"/>
          <ac:spMkLst>
            <pc:docMk/>
            <pc:sldMk cId="4059184984" sldId="284"/>
            <ac:spMk id="79" creationId="{DA1E8DC1-C14A-40E9-96E8-0B3AD7ADEFEE}"/>
          </ac:spMkLst>
        </pc:spChg>
        <pc:spChg chg="add mod topLvl">
          <ac:chgData name="Richerzhagen, Bjoern (T CED WLN-DE)" userId="1be7a072-4164-461c-b9ed-ae3c5d97c1a8" providerId="ADAL" clId="{A27AFCC7-D8F6-44BC-A001-AAF1884E580A}" dt="2022-03-02T13:09:31.014" v="13177" actId="165"/>
          <ac:spMkLst>
            <pc:docMk/>
            <pc:sldMk cId="4059184984" sldId="284"/>
            <ac:spMk id="80" creationId="{A45DE2B2-F387-47A7-BC3F-68365F989C76}"/>
          </ac:spMkLst>
        </pc:spChg>
        <pc:spChg chg="add mod topLvl">
          <ac:chgData name="Richerzhagen, Bjoern (T CED WLN-DE)" userId="1be7a072-4164-461c-b9ed-ae3c5d97c1a8" providerId="ADAL" clId="{A27AFCC7-D8F6-44BC-A001-AAF1884E580A}" dt="2022-03-02T13:09:31.014" v="13177" actId="165"/>
          <ac:spMkLst>
            <pc:docMk/>
            <pc:sldMk cId="4059184984" sldId="284"/>
            <ac:spMk id="81" creationId="{ADDB747A-2B83-4D98-A3CB-A5AB7E30E4A3}"/>
          </ac:spMkLst>
        </pc:spChg>
        <pc:spChg chg="add del mod">
          <ac:chgData name="Richerzhagen, Bjoern (T CED WLN-DE)" userId="1be7a072-4164-461c-b9ed-ae3c5d97c1a8" providerId="ADAL" clId="{A27AFCC7-D8F6-44BC-A001-AAF1884E580A}" dt="2022-03-02T12:57:55.560" v="12919" actId="478"/>
          <ac:spMkLst>
            <pc:docMk/>
            <pc:sldMk cId="4059184984" sldId="284"/>
            <ac:spMk id="83" creationId="{EE27355B-19E8-4039-824D-D32125FA0559}"/>
          </ac:spMkLst>
        </pc:spChg>
        <pc:spChg chg="add mod topLvl">
          <ac:chgData name="Richerzhagen, Bjoern (T CED WLN-DE)" userId="1be7a072-4164-461c-b9ed-ae3c5d97c1a8" providerId="ADAL" clId="{A27AFCC7-D8F6-44BC-A001-AAF1884E580A}" dt="2022-03-07T09:42:17.274" v="16716" actId="207"/>
          <ac:spMkLst>
            <pc:docMk/>
            <pc:sldMk cId="4059184984" sldId="284"/>
            <ac:spMk id="85" creationId="{D296B841-FEAE-4E68-9BD4-DE9BFBA6B9B9}"/>
          </ac:spMkLst>
        </pc:spChg>
        <pc:spChg chg="add mod topLvl">
          <ac:chgData name="Richerzhagen, Bjoern (T CED WLN-DE)" userId="1be7a072-4164-461c-b9ed-ae3c5d97c1a8" providerId="ADAL" clId="{A27AFCC7-D8F6-44BC-A001-AAF1884E580A}" dt="2022-03-07T09:42:17.274" v="16716" actId="207"/>
          <ac:spMkLst>
            <pc:docMk/>
            <pc:sldMk cId="4059184984" sldId="284"/>
            <ac:spMk id="86" creationId="{9312D88F-386B-4EE7-B9C5-9C520B650BF8}"/>
          </ac:spMkLst>
        </pc:spChg>
        <pc:spChg chg="add mod topLvl">
          <ac:chgData name="Richerzhagen, Bjoern (T CED WLN-DE)" userId="1be7a072-4164-461c-b9ed-ae3c5d97c1a8" providerId="ADAL" clId="{A27AFCC7-D8F6-44BC-A001-AAF1884E580A}" dt="2022-03-07T09:42:17.274" v="16716" actId="207"/>
          <ac:spMkLst>
            <pc:docMk/>
            <pc:sldMk cId="4059184984" sldId="284"/>
            <ac:spMk id="87" creationId="{D30606AE-7A95-4BB0-991B-A3CF9DE3B34E}"/>
          </ac:spMkLst>
        </pc:spChg>
        <pc:spChg chg="add del mod">
          <ac:chgData name="Richerzhagen, Bjoern (T CED WLN-DE)" userId="1be7a072-4164-461c-b9ed-ae3c5d97c1a8" providerId="ADAL" clId="{A27AFCC7-D8F6-44BC-A001-AAF1884E580A}" dt="2022-03-02T12:57:39.196" v="12915" actId="478"/>
          <ac:spMkLst>
            <pc:docMk/>
            <pc:sldMk cId="4059184984" sldId="284"/>
            <ac:spMk id="90" creationId="{19D94C4A-743D-4C4D-9F43-820F120701A2}"/>
          </ac:spMkLst>
        </pc:spChg>
        <pc:spChg chg="add mod topLvl">
          <ac:chgData name="Richerzhagen, Bjoern (T CED WLN-DE)" userId="1be7a072-4164-461c-b9ed-ae3c5d97c1a8" providerId="ADAL" clId="{A27AFCC7-D8F6-44BC-A001-AAF1884E580A}" dt="2022-03-02T13:09:31.014" v="13177" actId="165"/>
          <ac:spMkLst>
            <pc:docMk/>
            <pc:sldMk cId="4059184984" sldId="284"/>
            <ac:spMk id="91" creationId="{38BF9830-CC1F-40D0-BF9B-E8F5C5C4AE1E}"/>
          </ac:spMkLst>
        </pc:spChg>
        <pc:spChg chg="add mod topLvl">
          <ac:chgData name="Richerzhagen, Bjoern (T CED WLN-DE)" userId="1be7a072-4164-461c-b9ed-ae3c5d97c1a8" providerId="ADAL" clId="{A27AFCC7-D8F6-44BC-A001-AAF1884E580A}" dt="2022-03-02T13:09:31.014" v="13177" actId="165"/>
          <ac:spMkLst>
            <pc:docMk/>
            <pc:sldMk cId="4059184984" sldId="284"/>
            <ac:spMk id="93" creationId="{4E19F4CB-A3B0-4953-86F2-B4049B53320E}"/>
          </ac:spMkLst>
        </pc:spChg>
        <pc:spChg chg="add mod">
          <ac:chgData name="Richerzhagen, Bjoern (T CED WLN-DE)" userId="1be7a072-4164-461c-b9ed-ae3c5d97c1a8" providerId="ADAL" clId="{A27AFCC7-D8F6-44BC-A001-AAF1884E580A}" dt="2022-03-08T08:06:04.950" v="17072" actId="20577"/>
          <ac:spMkLst>
            <pc:docMk/>
            <pc:sldMk cId="4059184984" sldId="284"/>
            <ac:spMk id="97" creationId="{100CEF1A-EEF0-4AF8-99BF-B0353B6FF6CD}"/>
          </ac:spMkLst>
        </pc:spChg>
        <pc:spChg chg="mod">
          <ac:chgData name="Richerzhagen, Bjoern (T CED WLN-DE)" userId="1be7a072-4164-461c-b9ed-ae3c5d97c1a8" providerId="ADAL" clId="{A27AFCC7-D8F6-44BC-A001-AAF1884E580A}" dt="2022-03-02T13:08:05.183" v="13113"/>
          <ac:spMkLst>
            <pc:docMk/>
            <pc:sldMk cId="4059184984" sldId="284"/>
            <ac:spMk id="99" creationId="{F015B75E-2BAD-4E6E-8C2E-354768DC203C}"/>
          </ac:spMkLst>
        </pc:spChg>
        <pc:spChg chg="mod">
          <ac:chgData name="Richerzhagen, Bjoern (T CED WLN-DE)" userId="1be7a072-4164-461c-b9ed-ae3c5d97c1a8" providerId="ADAL" clId="{A27AFCC7-D8F6-44BC-A001-AAF1884E580A}" dt="2022-03-02T13:08:05.183" v="13113"/>
          <ac:spMkLst>
            <pc:docMk/>
            <pc:sldMk cId="4059184984" sldId="284"/>
            <ac:spMk id="100" creationId="{5AB8265E-87F0-4CD3-B81E-60B01F2EA97C}"/>
          </ac:spMkLst>
        </pc:spChg>
        <pc:spChg chg="mod">
          <ac:chgData name="Richerzhagen, Bjoern (T CED WLN-DE)" userId="1be7a072-4164-461c-b9ed-ae3c5d97c1a8" providerId="ADAL" clId="{A27AFCC7-D8F6-44BC-A001-AAF1884E580A}" dt="2022-03-02T13:08:05.183" v="13113"/>
          <ac:spMkLst>
            <pc:docMk/>
            <pc:sldMk cId="4059184984" sldId="284"/>
            <ac:spMk id="101" creationId="{FDC43B5B-052B-48BD-82FB-366A7AEAD768}"/>
          </ac:spMkLst>
        </pc:spChg>
        <pc:spChg chg="mod">
          <ac:chgData name="Richerzhagen, Bjoern (T CED WLN-DE)" userId="1be7a072-4164-461c-b9ed-ae3c5d97c1a8" providerId="ADAL" clId="{A27AFCC7-D8F6-44BC-A001-AAF1884E580A}" dt="2022-03-02T13:08:05.183" v="13113"/>
          <ac:spMkLst>
            <pc:docMk/>
            <pc:sldMk cId="4059184984" sldId="284"/>
            <ac:spMk id="102" creationId="{C211A884-F463-436E-AA1B-3DBC4F97762B}"/>
          </ac:spMkLst>
        </pc:spChg>
        <pc:spChg chg="mod">
          <ac:chgData name="Richerzhagen, Bjoern (T CED WLN-DE)" userId="1be7a072-4164-461c-b9ed-ae3c5d97c1a8" providerId="ADAL" clId="{A27AFCC7-D8F6-44BC-A001-AAF1884E580A}" dt="2022-03-02T13:08:05.183" v="13113"/>
          <ac:spMkLst>
            <pc:docMk/>
            <pc:sldMk cId="4059184984" sldId="284"/>
            <ac:spMk id="104" creationId="{5A75E2D0-6F32-4618-B3B5-7E627C86720F}"/>
          </ac:spMkLst>
        </pc:spChg>
        <pc:spChg chg="mod">
          <ac:chgData name="Richerzhagen, Bjoern (T CED WLN-DE)" userId="1be7a072-4164-461c-b9ed-ae3c5d97c1a8" providerId="ADAL" clId="{A27AFCC7-D8F6-44BC-A001-AAF1884E580A}" dt="2022-03-02T13:08:05.183" v="13113"/>
          <ac:spMkLst>
            <pc:docMk/>
            <pc:sldMk cId="4059184984" sldId="284"/>
            <ac:spMk id="105" creationId="{9EB67EB3-1B0C-4DEF-8F8D-1EEBE3D545FE}"/>
          </ac:spMkLst>
        </pc:spChg>
        <pc:spChg chg="mod">
          <ac:chgData name="Richerzhagen, Bjoern (T CED WLN-DE)" userId="1be7a072-4164-461c-b9ed-ae3c5d97c1a8" providerId="ADAL" clId="{A27AFCC7-D8F6-44BC-A001-AAF1884E580A}" dt="2022-03-02T13:08:05.183" v="13113"/>
          <ac:spMkLst>
            <pc:docMk/>
            <pc:sldMk cId="4059184984" sldId="284"/>
            <ac:spMk id="106" creationId="{2BA9080D-2417-4144-BB3A-C128B8BEDA7D}"/>
          </ac:spMkLst>
        </pc:spChg>
        <pc:spChg chg="mod">
          <ac:chgData name="Richerzhagen, Bjoern (T CED WLN-DE)" userId="1be7a072-4164-461c-b9ed-ae3c5d97c1a8" providerId="ADAL" clId="{A27AFCC7-D8F6-44BC-A001-AAF1884E580A}" dt="2022-03-02T13:08:05.183" v="13113"/>
          <ac:spMkLst>
            <pc:docMk/>
            <pc:sldMk cId="4059184984" sldId="284"/>
            <ac:spMk id="107" creationId="{8514CD0B-A3F8-4F1E-A337-85BD03D33598}"/>
          </ac:spMkLst>
        </pc:spChg>
        <pc:spChg chg="add mod modVis">
          <ac:chgData name="Richerzhagen, Bjoern (T CED WLN-DE)" userId="1be7a072-4164-461c-b9ed-ae3c5d97c1a8" providerId="ADAL" clId="{A27AFCC7-D8F6-44BC-A001-AAF1884E580A}" dt="2022-03-08T09:33:29.066" v="30364" actId="14430"/>
          <ac:spMkLst>
            <pc:docMk/>
            <pc:sldMk cId="4059184984" sldId="284"/>
            <ac:spMk id="108" creationId="{B02AB9C3-1C6E-4D75-BB8F-84BFCA912090}"/>
          </ac:spMkLst>
        </pc:spChg>
        <pc:spChg chg="add del mod">
          <ac:chgData name="Richerzhagen, Bjoern (T CED WLN-DE)" userId="1be7a072-4164-461c-b9ed-ae3c5d97c1a8" providerId="ADAL" clId="{A27AFCC7-D8F6-44BC-A001-AAF1884E580A}" dt="2022-03-02T13:21:12.293" v="13471" actId="478"/>
          <ac:spMkLst>
            <pc:docMk/>
            <pc:sldMk cId="4059184984" sldId="284"/>
            <ac:spMk id="124" creationId="{733B7D5F-3E85-4578-B8BA-5869EA7A9E90}"/>
          </ac:spMkLst>
        </pc:spChg>
        <pc:spChg chg="mod">
          <ac:chgData name="Richerzhagen, Bjoern (T CED WLN-DE)" userId="1be7a072-4164-461c-b9ed-ae3c5d97c1a8" providerId="ADAL" clId="{A27AFCC7-D8F6-44BC-A001-AAF1884E580A}" dt="2022-03-02T13:15:04.627" v="13323"/>
          <ac:spMkLst>
            <pc:docMk/>
            <pc:sldMk cId="4059184984" sldId="284"/>
            <ac:spMk id="134" creationId="{647ADE82-6416-466B-AC29-AD2DB43B6238}"/>
          </ac:spMkLst>
        </pc:spChg>
        <pc:spChg chg="mod">
          <ac:chgData name="Richerzhagen, Bjoern (T CED WLN-DE)" userId="1be7a072-4164-461c-b9ed-ae3c5d97c1a8" providerId="ADAL" clId="{A27AFCC7-D8F6-44BC-A001-AAF1884E580A}" dt="2022-03-02T13:15:04.627" v="13323"/>
          <ac:spMkLst>
            <pc:docMk/>
            <pc:sldMk cId="4059184984" sldId="284"/>
            <ac:spMk id="135" creationId="{F0985A72-A56D-451B-B4C5-362B37B16C96}"/>
          </ac:spMkLst>
        </pc:spChg>
        <pc:spChg chg="mod">
          <ac:chgData name="Richerzhagen, Bjoern (T CED WLN-DE)" userId="1be7a072-4164-461c-b9ed-ae3c5d97c1a8" providerId="ADAL" clId="{A27AFCC7-D8F6-44BC-A001-AAF1884E580A}" dt="2022-03-02T13:15:04.627" v="13323"/>
          <ac:spMkLst>
            <pc:docMk/>
            <pc:sldMk cId="4059184984" sldId="284"/>
            <ac:spMk id="136" creationId="{A81397CF-42BB-4127-BD81-2B83F97443C7}"/>
          </ac:spMkLst>
        </pc:spChg>
        <pc:spChg chg="mod">
          <ac:chgData name="Richerzhagen, Bjoern (T CED WLN-DE)" userId="1be7a072-4164-461c-b9ed-ae3c5d97c1a8" providerId="ADAL" clId="{A27AFCC7-D8F6-44BC-A001-AAF1884E580A}" dt="2022-03-02T13:15:04.627" v="13323"/>
          <ac:spMkLst>
            <pc:docMk/>
            <pc:sldMk cId="4059184984" sldId="284"/>
            <ac:spMk id="137" creationId="{8BA6D790-5A0A-45ED-BAFE-DE9E2B7D494B}"/>
          </ac:spMkLst>
        </pc:spChg>
        <pc:spChg chg="mod">
          <ac:chgData name="Richerzhagen, Bjoern (T CED WLN-DE)" userId="1be7a072-4164-461c-b9ed-ae3c5d97c1a8" providerId="ADAL" clId="{A27AFCC7-D8F6-44BC-A001-AAF1884E580A}" dt="2022-03-02T13:15:04.627" v="13323"/>
          <ac:spMkLst>
            <pc:docMk/>
            <pc:sldMk cId="4059184984" sldId="284"/>
            <ac:spMk id="139" creationId="{7366670F-03D0-4E1E-AF0F-35A366CA550D}"/>
          </ac:spMkLst>
        </pc:spChg>
        <pc:spChg chg="mod">
          <ac:chgData name="Richerzhagen, Bjoern (T CED WLN-DE)" userId="1be7a072-4164-461c-b9ed-ae3c5d97c1a8" providerId="ADAL" clId="{A27AFCC7-D8F6-44BC-A001-AAF1884E580A}" dt="2022-03-02T13:15:04.627" v="13323"/>
          <ac:spMkLst>
            <pc:docMk/>
            <pc:sldMk cId="4059184984" sldId="284"/>
            <ac:spMk id="140" creationId="{DF21ACDC-9E1F-4B1F-8ED4-D16AE39412BA}"/>
          </ac:spMkLst>
        </pc:spChg>
        <pc:spChg chg="mod">
          <ac:chgData name="Richerzhagen, Bjoern (T CED WLN-DE)" userId="1be7a072-4164-461c-b9ed-ae3c5d97c1a8" providerId="ADAL" clId="{A27AFCC7-D8F6-44BC-A001-AAF1884E580A}" dt="2022-03-02T13:15:04.627" v="13323"/>
          <ac:spMkLst>
            <pc:docMk/>
            <pc:sldMk cId="4059184984" sldId="284"/>
            <ac:spMk id="141" creationId="{B55A7201-6453-47B1-98DB-6FC26346E916}"/>
          </ac:spMkLst>
        </pc:spChg>
        <pc:spChg chg="mod">
          <ac:chgData name="Richerzhagen, Bjoern (T CED WLN-DE)" userId="1be7a072-4164-461c-b9ed-ae3c5d97c1a8" providerId="ADAL" clId="{A27AFCC7-D8F6-44BC-A001-AAF1884E580A}" dt="2022-03-02T13:15:04.627" v="13323"/>
          <ac:spMkLst>
            <pc:docMk/>
            <pc:sldMk cId="4059184984" sldId="284"/>
            <ac:spMk id="142" creationId="{6F5110C0-1297-4C97-827B-37102269E590}"/>
          </ac:spMkLst>
        </pc:spChg>
        <pc:spChg chg="mod">
          <ac:chgData name="Richerzhagen, Bjoern (T CED WLN-DE)" userId="1be7a072-4164-461c-b9ed-ae3c5d97c1a8" providerId="ADAL" clId="{A27AFCC7-D8F6-44BC-A001-AAF1884E580A}" dt="2022-03-02T13:15:04.627" v="13323"/>
          <ac:spMkLst>
            <pc:docMk/>
            <pc:sldMk cId="4059184984" sldId="284"/>
            <ac:spMk id="144" creationId="{F48BB301-85A5-4EBE-BA85-32490056B821}"/>
          </ac:spMkLst>
        </pc:spChg>
        <pc:spChg chg="mod">
          <ac:chgData name="Richerzhagen, Bjoern (T CED WLN-DE)" userId="1be7a072-4164-461c-b9ed-ae3c5d97c1a8" providerId="ADAL" clId="{A27AFCC7-D8F6-44BC-A001-AAF1884E580A}" dt="2022-03-02T13:15:04.627" v="13323"/>
          <ac:spMkLst>
            <pc:docMk/>
            <pc:sldMk cId="4059184984" sldId="284"/>
            <ac:spMk id="145" creationId="{27FAFF14-A4F7-475E-AA32-8A02AB5F135C}"/>
          </ac:spMkLst>
        </pc:spChg>
        <pc:spChg chg="mod">
          <ac:chgData name="Richerzhagen, Bjoern (T CED WLN-DE)" userId="1be7a072-4164-461c-b9ed-ae3c5d97c1a8" providerId="ADAL" clId="{A27AFCC7-D8F6-44BC-A001-AAF1884E580A}" dt="2022-03-02T13:15:04.627" v="13323"/>
          <ac:spMkLst>
            <pc:docMk/>
            <pc:sldMk cId="4059184984" sldId="284"/>
            <ac:spMk id="146" creationId="{E7547E44-3EE7-4F37-B052-45B6C835C135}"/>
          </ac:spMkLst>
        </pc:spChg>
        <pc:spChg chg="mod">
          <ac:chgData name="Richerzhagen, Bjoern (T CED WLN-DE)" userId="1be7a072-4164-461c-b9ed-ae3c5d97c1a8" providerId="ADAL" clId="{A27AFCC7-D8F6-44BC-A001-AAF1884E580A}" dt="2022-03-02T13:15:04.627" v="13323"/>
          <ac:spMkLst>
            <pc:docMk/>
            <pc:sldMk cId="4059184984" sldId="284"/>
            <ac:spMk id="147" creationId="{DB406791-45EB-4ACF-A7C7-E66E8F09FC48}"/>
          </ac:spMkLst>
        </pc:spChg>
        <pc:spChg chg="add mod">
          <ac:chgData name="Richerzhagen, Bjoern (T CED WLN-DE)" userId="1be7a072-4164-461c-b9ed-ae3c5d97c1a8" providerId="ADAL" clId="{A27AFCC7-D8F6-44BC-A001-AAF1884E580A}" dt="2022-03-02T13:15:35.042" v="13339" actId="164"/>
          <ac:spMkLst>
            <pc:docMk/>
            <pc:sldMk cId="4059184984" sldId="284"/>
            <ac:spMk id="148" creationId="{ABEBA6E3-CF5D-48BD-9AF5-9E27ED988E4D}"/>
          </ac:spMkLst>
        </pc:spChg>
        <pc:spChg chg="add mod">
          <ac:chgData name="Richerzhagen, Bjoern (T CED WLN-DE)" userId="1be7a072-4164-461c-b9ed-ae3c5d97c1a8" providerId="ADAL" clId="{A27AFCC7-D8F6-44BC-A001-AAF1884E580A}" dt="2022-03-02T13:19:15.748" v="13466" actId="1076"/>
          <ac:spMkLst>
            <pc:docMk/>
            <pc:sldMk cId="4059184984" sldId="284"/>
            <ac:spMk id="149" creationId="{43F0AE51-96CA-4AAF-973A-89EB5AC4E896}"/>
          </ac:spMkLst>
        </pc:spChg>
        <pc:spChg chg="add mod">
          <ac:chgData name="Richerzhagen, Bjoern (T CED WLN-DE)" userId="1be7a072-4164-461c-b9ed-ae3c5d97c1a8" providerId="ADAL" clId="{A27AFCC7-D8F6-44BC-A001-AAF1884E580A}" dt="2022-03-02T13:21:34.233" v="13479" actId="20577"/>
          <ac:spMkLst>
            <pc:docMk/>
            <pc:sldMk cId="4059184984" sldId="284"/>
            <ac:spMk id="151" creationId="{781CE022-F77B-41F3-A920-6956CD092476}"/>
          </ac:spMkLst>
        </pc:spChg>
        <pc:spChg chg="add del mod">
          <ac:chgData name="Richerzhagen, Bjoern (T CED WLN-DE)" userId="1be7a072-4164-461c-b9ed-ae3c5d97c1a8" providerId="ADAL" clId="{A27AFCC7-D8F6-44BC-A001-AAF1884E580A}" dt="2022-03-02T13:18:20.864" v="13392" actId="478"/>
          <ac:spMkLst>
            <pc:docMk/>
            <pc:sldMk cId="4059184984" sldId="284"/>
            <ac:spMk id="152" creationId="{7EFE95A5-ADA4-4692-9580-08680D1C2A3E}"/>
          </ac:spMkLst>
        </pc:spChg>
        <pc:spChg chg="add del mod">
          <ac:chgData name="Richerzhagen, Bjoern (T CED WLN-DE)" userId="1be7a072-4164-461c-b9ed-ae3c5d97c1a8" providerId="ADAL" clId="{A27AFCC7-D8F6-44BC-A001-AAF1884E580A}" dt="2022-03-02T13:27:35.875" v="13618" actId="478"/>
          <ac:spMkLst>
            <pc:docMk/>
            <pc:sldMk cId="4059184984" sldId="284"/>
            <ac:spMk id="153" creationId="{2CD12FC7-A8AE-4313-850D-8F05FF7B3AC9}"/>
          </ac:spMkLst>
        </pc:spChg>
        <pc:spChg chg="add del mod">
          <ac:chgData name="Richerzhagen, Bjoern (T CED WLN-DE)" userId="1be7a072-4164-461c-b9ed-ae3c5d97c1a8" providerId="ADAL" clId="{A27AFCC7-D8F6-44BC-A001-AAF1884E580A}" dt="2022-03-02T13:21:37.076" v="13481"/>
          <ac:spMkLst>
            <pc:docMk/>
            <pc:sldMk cId="4059184984" sldId="284"/>
            <ac:spMk id="154" creationId="{80B84CA4-19A1-45DE-8A94-37DDB03ADB2C}"/>
          </ac:spMkLst>
        </pc:spChg>
        <pc:spChg chg="add del mod">
          <ac:chgData name="Richerzhagen, Bjoern (T CED WLN-DE)" userId="1be7a072-4164-461c-b9ed-ae3c5d97c1a8" providerId="ADAL" clId="{A27AFCC7-D8F6-44BC-A001-AAF1884E580A}" dt="2022-03-02T13:21:51.746" v="13501" actId="478"/>
          <ac:spMkLst>
            <pc:docMk/>
            <pc:sldMk cId="4059184984" sldId="284"/>
            <ac:spMk id="155" creationId="{6D5A262E-0F35-4401-8A1A-9939A7D037AE}"/>
          </ac:spMkLst>
        </pc:spChg>
        <pc:spChg chg="add del mod">
          <ac:chgData name="Richerzhagen, Bjoern (T CED WLN-DE)" userId="1be7a072-4164-461c-b9ed-ae3c5d97c1a8" providerId="ADAL" clId="{A27AFCC7-D8F6-44BC-A001-AAF1884E580A}" dt="2022-03-02T13:24:54.171" v="13558" actId="478"/>
          <ac:spMkLst>
            <pc:docMk/>
            <pc:sldMk cId="4059184984" sldId="284"/>
            <ac:spMk id="158" creationId="{48761CC2-F3F0-47B5-A48D-F8C04BE78409}"/>
          </ac:spMkLst>
        </pc:spChg>
        <pc:grpChg chg="add del mod">
          <ac:chgData name="Richerzhagen, Bjoern (T CED WLN-DE)" userId="1be7a072-4164-461c-b9ed-ae3c5d97c1a8" providerId="ADAL" clId="{A27AFCC7-D8F6-44BC-A001-AAF1884E580A}" dt="2022-03-02T12:58:03.043" v="12924" actId="165"/>
          <ac:grpSpMkLst>
            <pc:docMk/>
            <pc:sldMk cId="4059184984" sldId="284"/>
            <ac:grpSpMk id="2" creationId="{7A6A569B-31B5-4287-8459-13D8D1C379EE}"/>
          </ac:grpSpMkLst>
        </pc:grpChg>
        <pc:grpChg chg="add mod topLvl">
          <ac:chgData name="Richerzhagen, Bjoern (T CED WLN-DE)" userId="1be7a072-4164-461c-b9ed-ae3c5d97c1a8" providerId="ADAL" clId="{A27AFCC7-D8F6-44BC-A001-AAF1884E580A}" dt="2022-03-02T13:09:31.014" v="13177" actId="165"/>
          <ac:grpSpMkLst>
            <pc:docMk/>
            <pc:sldMk cId="4059184984" sldId="284"/>
            <ac:grpSpMk id="3" creationId="{0E53EB1A-AE19-47DF-B527-A4378161211A}"/>
          </ac:grpSpMkLst>
        </pc:grpChg>
        <pc:grpChg chg="add del mod">
          <ac:chgData name="Richerzhagen, Bjoern (T CED WLN-DE)" userId="1be7a072-4164-461c-b9ed-ae3c5d97c1a8" providerId="ADAL" clId="{A27AFCC7-D8F6-44BC-A001-AAF1884E580A}" dt="2022-03-02T13:08:37.670" v="13124" actId="478"/>
          <ac:grpSpMkLst>
            <pc:docMk/>
            <pc:sldMk cId="4059184984" sldId="284"/>
            <ac:grpSpMk id="15" creationId="{5C49F5CD-2F76-4C5F-85C7-6B9C95DA3016}"/>
          </ac:grpSpMkLst>
        </pc:grpChg>
        <pc:grpChg chg="add del mod">
          <ac:chgData name="Richerzhagen, Bjoern (T CED WLN-DE)" userId="1be7a072-4164-461c-b9ed-ae3c5d97c1a8" providerId="ADAL" clId="{A27AFCC7-D8F6-44BC-A001-AAF1884E580A}" dt="2022-03-02T13:15:04.058" v="13322" actId="478"/>
          <ac:grpSpMkLst>
            <pc:docMk/>
            <pc:sldMk cId="4059184984" sldId="284"/>
            <ac:grpSpMk id="98" creationId="{B4D01E6C-942A-43B0-A8E6-67BCC7D29363}"/>
          </ac:grpSpMkLst>
        </pc:grpChg>
        <pc:grpChg chg="add del mod">
          <ac:chgData name="Richerzhagen, Bjoern (T CED WLN-DE)" userId="1be7a072-4164-461c-b9ed-ae3c5d97c1a8" providerId="ADAL" clId="{A27AFCC7-D8F6-44BC-A001-AAF1884E580A}" dt="2022-03-02T13:15:04.058" v="13322" actId="478"/>
          <ac:grpSpMkLst>
            <pc:docMk/>
            <pc:sldMk cId="4059184984" sldId="284"/>
            <ac:grpSpMk id="103" creationId="{A483C55C-098F-4566-8613-F3BAB1C2DAFF}"/>
          </ac:grpSpMkLst>
        </pc:grpChg>
        <pc:grpChg chg="add del mod">
          <ac:chgData name="Richerzhagen, Bjoern (T CED WLN-DE)" userId="1be7a072-4164-461c-b9ed-ae3c5d97c1a8" providerId="ADAL" clId="{A27AFCC7-D8F6-44BC-A001-AAF1884E580A}" dt="2022-03-02T13:09:31.014" v="13177" actId="165"/>
          <ac:grpSpMkLst>
            <pc:docMk/>
            <pc:sldMk cId="4059184984" sldId="284"/>
            <ac:grpSpMk id="109" creationId="{F8E38A5C-F3E6-4255-B831-D22F1E553396}"/>
          </ac:grpSpMkLst>
        </pc:grpChg>
        <pc:grpChg chg="add mod">
          <ac:chgData name="Richerzhagen, Bjoern (T CED WLN-DE)" userId="1be7a072-4164-461c-b9ed-ae3c5d97c1a8" providerId="ADAL" clId="{A27AFCC7-D8F6-44BC-A001-AAF1884E580A}" dt="2022-03-02T13:15:04.627" v="13323"/>
          <ac:grpSpMkLst>
            <pc:docMk/>
            <pc:sldMk cId="4059184984" sldId="284"/>
            <ac:grpSpMk id="133" creationId="{79FB731F-2D89-4DA9-9497-75DAF6C409D3}"/>
          </ac:grpSpMkLst>
        </pc:grpChg>
        <pc:grpChg chg="add mod">
          <ac:chgData name="Richerzhagen, Bjoern (T CED WLN-DE)" userId="1be7a072-4164-461c-b9ed-ae3c5d97c1a8" providerId="ADAL" clId="{A27AFCC7-D8F6-44BC-A001-AAF1884E580A}" dt="2022-03-02T13:15:04.627" v="13323"/>
          <ac:grpSpMkLst>
            <pc:docMk/>
            <pc:sldMk cId="4059184984" sldId="284"/>
            <ac:grpSpMk id="138" creationId="{5FA7A060-5C2B-4EB1-9A26-B3388BD2A4E9}"/>
          </ac:grpSpMkLst>
        </pc:grpChg>
        <pc:grpChg chg="add mod">
          <ac:chgData name="Richerzhagen, Bjoern (T CED WLN-DE)" userId="1be7a072-4164-461c-b9ed-ae3c5d97c1a8" providerId="ADAL" clId="{A27AFCC7-D8F6-44BC-A001-AAF1884E580A}" dt="2022-03-02T13:15:04.627" v="13323"/>
          <ac:grpSpMkLst>
            <pc:docMk/>
            <pc:sldMk cId="4059184984" sldId="284"/>
            <ac:grpSpMk id="143" creationId="{43C25412-BA6A-40AF-90ED-5238142FC8CD}"/>
          </ac:grpSpMkLst>
        </pc:grpChg>
        <pc:grpChg chg="add mod">
          <ac:chgData name="Richerzhagen, Bjoern (T CED WLN-DE)" userId="1be7a072-4164-461c-b9ed-ae3c5d97c1a8" providerId="ADAL" clId="{A27AFCC7-D8F6-44BC-A001-AAF1884E580A}" dt="2022-03-02T13:21:23.898" v="13472" actId="1076"/>
          <ac:grpSpMkLst>
            <pc:docMk/>
            <pc:sldMk cId="4059184984" sldId="284"/>
            <ac:grpSpMk id="150" creationId="{A1F93D14-14E7-4121-93E7-877A5FC7DB7A}"/>
          </ac:grpSpMkLst>
        </pc:grpChg>
        <pc:picChg chg="del">
          <ac:chgData name="Richerzhagen, Bjoern (T CED WLN-DE)" userId="1be7a072-4164-461c-b9ed-ae3c5d97c1a8" providerId="ADAL" clId="{A27AFCC7-D8F6-44BC-A001-AAF1884E580A}" dt="2022-02-28T13:55:24.720" v="4281" actId="478"/>
          <ac:picMkLst>
            <pc:docMk/>
            <pc:sldMk cId="4059184984" sldId="284"/>
            <ac:picMk id="29" creationId="{F73276CE-B2A8-473C-8CE2-F532C1DD282C}"/>
          </ac:picMkLst>
        </pc:picChg>
        <pc:picChg chg="add del mod">
          <ac:chgData name="Richerzhagen, Bjoern (T CED WLN-DE)" userId="1be7a072-4164-461c-b9ed-ae3c5d97c1a8" providerId="ADAL" clId="{A27AFCC7-D8F6-44BC-A001-AAF1884E580A}" dt="2022-03-02T12:57:08.383" v="12834"/>
          <ac:picMkLst>
            <pc:docMk/>
            <pc:sldMk cId="4059184984" sldId="284"/>
            <ac:picMk id="33" creationId="{E32E7C14-7BCB-44BA-89D4-97546B309068}"/>
          </ac:picMkLst>
        </pc:picChg>
        <pc:picChg chg="add del mod">
          <ac:chgData name="Richerzhagen, Bjoern (T CED WLN-DE)" userId="1be7a072-4164-461c-b9ed-ae3c5d97c1a8" providerId="ADAL" clId="{A27AFCC7-D8F6-44BC-A001-AAF1884E580A}" dt="2022-03-02T12:57:08.383" v="12834"/>
          <ac:picMkLst>
            <pc:docMk/>
            <pc:sldMk cId="4059184984" sldId="284"/>
            <ac:picMk id="34" creationId="{B63D8E22-B457-491E-BC0C-27BBE2C37FFB}"/>
          </ac:picMkLst>
        </pc:picChg>
        <pc:picChg chg="add del mod">
          <ac:chgData name="Richerzhagen, Bjoern (T CED WLN-DE)" userId="1be7a072-4164-461c-b9ed-ae3c5d97c1a8" providerId="ADAL" clId="{A27AFCC7-D8F6-44BC-A001-AAF1884E580A}" dt="2022-03-02T12:57:08.383" v="12834"/>
          <ac:picMkLst>
            <pc:docMk/>
            <pc:sldMk cId="4059184984" sldId="284"/>
            <ac:picMk id="38" creationId="{2D56491C-910A-4FAA-9663-1B5A4B0E7E7C}"/>
          </ac:picMkLst>
        </pc:picChg>
        <pc:picChg chg="add del mod">
          <ac:chgData name="Richerzhagen, Bjoern (T CED WLN-DE)" userId="1be7a072-4164-461c-b9ed-ae3c5d97c1a8" providerId="ADAL" clId="{A27AFCC7-D8F6-44BC-A001-AAF1884E580A}" dt="2022-03-02T12:57:08.383" v="12834"/>
          <ac:picMkLst>
            <pc:docMk/>
            <pc:sldMk cId="4059184984" sldId="284"/>
            <ac:picMk id="39" creationId="{81A43670-1602-464E-9720-A2AECCB57304}"/>
          </ac:picMkLst>
        </pc:picChg>
        <pc:picChg chg="add del mod">
          <ac:chgData name="Richerzhagen, Bjoern (T CED WLN-DE)" userId="1be7a072-4164-461c-b9ed-ae3c5d97c1a8" providerId="ADAL" clId="{A27AFCC7-D8F6-44BC-A001-AAF1884E580A}" dt="2022-03-02T12:57:08.383" v="12834"/>
          <ac:picMkLst>
            <pc:docMk/>
            <pc:sldMk cId="4059184984" sldId="284"/>
            <ac:picMk id="43" creationId="{25F8B669-0BF0-48D3-B904-9262C568104B}"/>
          </ac:picMkLst>
        </pc:picChg>
        <pc:picChg chg="add del mod">
          <ac:chgData name="Richerzhagen, Bjoern (T CED WLN-DE)" userId="1be7a072-4164-461c-b9ed-ae3c5d97c1a8" providerId="ADAL" clId="{A27AFCC7-D8F6-44BC-A001-AAF1884E580A}" dt="2022-03-02T12:57:08.383" v="12834"/>
          <ac:picMkLst>
            <pc:docMk/>
            <pc:sldMk cId="4059184984" sldId="284"/>
            <ac:picMk id="44" creationId="{5CED5FB7-A0C2-4A8C-8284-E8F984BC7641}"/>
          </ac:picMkLst>
        </pc:picChg>
        <pc:picChg chg="add mod topLvl">
          <ac:chgData name="Richerzhagen, Bjoern (T CED WLN-DE)" userId="1be7a072-4164-461c-b9ed-ae3c5d97c1a8" providerId="ADAL" clId="{A27AFCC7-D8F6-44BC-A001-AAF1884E580A}" dt="2022-03-02T13:20:54.184" v="13470" actId="207"/>
          <ac:picMkLst>
            <pc:docMk/>
            <pc:sldMk cId="4059184984" sldId="284"/>
            <ac:picMk id="66" creationId="{70E0BF48-3D4B-442E-AF05-DBE845BF14D3}"/>
          </ac:picMkLst>
        </pc:picChg>
        <pc:picChg chg="add mod topLvl">
          <ac:chgData name="Richerzhagen, Bjoern (T CED WLN-DE)" userId="1be7a072-4164-461c-b9ed-ae3c5d97c1a8" providerId="ADAL" clId="{A27AFCC7-D8F6-44BC-A001-AAF1884E580A}" dt="2022-03-02T13:09:31.014" v="13177" actId="165"/>
          <ac:picMkLst>
            <pc:docMk/>
            <pc:sldMk cId="4059184984" sldId="284"/>
            <ac:picMk id="67" creationId="{9E210A9E-1089-45B0-8A4D-978F89F86D16}"/>
          </ac:picMkLst>
        </pc:picChg>
        <pc:picChg chg="add mod topLvl">
          <ac:chgData name="Richerzhagen, Bjoern (T CED WLN-DE)" userId="1be7a072-4164-461c-b9ed-ae3c5d97c1a8" providerId="ADAL" clId="{A27AFCC7-D8F6-44BC-A001-AAF1884E580A}" dt="2022-03-02T13:20:54.184" v="13470" actId="207"/>
          <ac:picMkLst>
            <pc:docMk/>
            <pc:sldMk cId="4059184984" sldId="284"/>
            <ac:picMk id="71" creationId="{57CC1C7C-6714-45D2-946C-ADA4CDA30682}"/>
          </ac:picMkLst>
        </pc:picChg>
        <pc:picChg chg="add mod topLvl">
          <ac:chgData name="Richerzhagen, Bjoern (T CED WLN-DE)" userId="1be7a072-4164-461c-b9ed-ae3c5d97c1a8" providerId="ADAL" clId="{A27AFCC7-D8F6-44BC-A001-AAF1884E580A}" dt="2022-03-02T13:09:31.014" v="13177" actId="165"/>
          <ac:picMkLst>
            <pc:docMk/>
            <pc:sldMk cId="4059184984" sldId="284"/>
            <ac:picMk id="72" creationId="{D3D42BD3-EB32-414B-9D52-467027971D35}"/>
          </ac:picMkLst>
        </pc:picChg>
        <pc:picChg chg="add mod topLvl">
          <ac:chgData name="Richerzhagen, Bjoern (T CED WLN-DE)" userId="1be7a072-4164-461c-b9ed-ae3c5d97c1a8" providerId="ADAL" clId="{A27AFCC7-D8F6-44BC-A001-AAF1884E580A}" dt="2022-03-02T13:20:54.184" v="13470" actId="207"/>
          <ac:picMkLst>
            <pc:docMk/>
            <pc:sldMk cId="4059184984" sldId="284"/>
            <ac:picMk id="76" creationId="{03FD5034-F8F9-4DEF-897E-B2DCB6554F43}"/>
          </ac:picMkLst>
        </pc:picChg>
        <pc:picChg chg="add mod topLvl">
          <ac:chgData name="Richerzhagen, Bjoern (T CED WLN-DE)" userId="1be7a072-4164-461c-b9ed-ae3c5d97c1a8" providerId="ADAL" clId="{A27AFCC7-D8F6-44BC-A001-AAF1884E580A}" dt="2022-03-02T13:09:31.014" v="13177" actId="165"/>
          <ac:picMkLst>
            <pc:docMk/>
            <pc:sldMk cId="4059184984" sldId="284"/>
            <ac:picMk id="77" creationId="{0C5A3E7D-4C16-4EC5-B5BB-D14B32A9A271}"/>
          </ac:picMkLst>
        </pc:picChg>
        <pc:picChg chg="add mod">
          <ac:chgData name="Richerzhagen, Bjoern (T CED WLN-DE)" userId="1be7a072-4164-461c-b9ed-ae3c5d97c1a8" providerId="ADAL" clId="{A27AFCC7-D8F6-44BC-A001-AAF1884E580A}" dt="2022-03-02T13:14:13.313" v="13306" actId="1036"/>
          <ac:picMkLst>
            <pc:docMk/>
            <pc:sldMk cId="4059184984" sldId="284"/>
            <ac:picMk id="111" creationId="{98DCEBD8-CC19-4C2A-A0EA-7D5E2141BAEF}"/>
          </ac:picMkLst>
        </pc:picChg>
        <pc:picChg chg="add mod">
          <ac:chgData name="Richerzhagen, Bjoern (T CED WLN-DE)" userId="1be7a072-4164-461c-b9ed-ae3c5d97c1a8" providerId="ADAL" clId="{A27AFCC7-D8F6-44BC-A001-AAF1884E580A}" dt="2022-03-02T13:24:33.299" v="13553" actId="1076"/>
          <ac:picMkLst>
            <pc:docMk/>
            <pc:sldMk cId="4059184984" sldId="284"/>
            <ac:picMk id="157" creationId="{9487A8F5-0A4C-491C-87C5-2892C133A5F2}"/>
          </ac:picMkLst>
        </pc:picChg>
        <pc:picChg chg="add del mod ord">
          <ac:chgData name="Richerzhagen, Bjoern (T CED WLN-DE)" userId="1be7a072-4164-461c-b9ed-ae3c5d97c1a8" providerId="ADAL" clId="{A27AFCC7-D8F6-44BC-A001-AAF1884E580A}" dt="2022-03-07T09:46:58.651" v="16791" actId="478"/>
          <ac:picMkLst>
            <pc:docMk/>
            <pc:sldMk cId="4059184984" sldId="284"/>
            <ac:picMk id="161" creationId="{F89ADD01-ECDA-432D-B176-2365FE2A101F}"/>
          </ac:picMkLst>
        </pc:picChg>
        <pc:picChg chg="add mod">
          <ac:chgData name="Richerzhagen, Bjoern (T CED WLN-DE)" userId="1be7a072-4164-461c-b9ed-ae3c5d97c1a8" providerId="ADAL" clId="{A27AFCC7-D8F6-44BC-A001-AAF1884E580A}" dt="2022-03-07T09:47:08.609" v="16793" actId="14100"/>
          <ac:picMkLst>
            <pc:docMk/>
            <pc:sldMk cId="4059184984" sldId="284"/>
            <ac:picMk id="162" creationId="{932EA548-B9A3-4DB5-AEDB-E7F5B037F6D5}"/>
          </ac:picMkLst>
        </pc:picChg>
        <pc:cxnChg chg="add del mod">
          <ac:chgData name="Richerzhagen, Bjoern (T CED WLN-DE)" userId="1be7a072-4164-461c-b9ed-ae3c5d97c1a8" providerId="ADAL" clId="{A27AFCC7-D8F6-44BC-A001-AAF1884E580A}" dt="2022-03-02T12:57:08.383" v="12834"/>
          <ac:cxnSpMkLst>
            <pc:docMk/>
            <pc:sldMk cId="4059184984" sldId="284"/>
            <ac:cxnSpMk id="35" creationId="{4BAE0194-9153-422D-B3DB-AE871D8D91F3}"/>
          </ac:cxnSpMkLst>
        </pc:cxnChg>
        <pc:cxnChg chg="add del mod">
          <ac:chgData name="Richerzhagen, Bjoern (T CED WLN-DE)" userId="1be7a072-4164-461c-b9ed-ae3c5d97c1a8" providerId="ADAL" clId="{A27AFCC7-D8F6-44BC-A001-AAF1884E580A}" dt="2022-03-02T12:57:08.383" v="12834"/>
          <ac:cxnSpMkLst>
            <pc:docMk/>
            <pc:sldMk cId="4059184984" sldId="284"/>
            <ac:cxnSpMk id="40" creationId="{919C6061-E23E-4980-84E5-1E74E7965CED}"/>
          </ac:cxnSpMkLst>
        </pc:cxnChg>
        <pc:cxnChg chg="add del mod">
          <ac:chgData name="Richerzhagen, Bjoern (T CED WLN-DE)" userId="1be7a072-4164-461c-b9ed-ae3c5d97c1a8" providerId="ADAL" clId="{A27AFCC7-D8F6-44BC-A001-AAF1884E580A}" dt="2022-03-02T12:57:08.383" v="12834"/>
          <ac:cxnSpMkLst>
            <pc:docMk/>
            <pc:sldMk cId="4059184984" sldId="284"/>
            <ac:cxnSpMk id="45" creationId="{683093CA-60E9-4D48-AA53-F365E2478D9B}"/>
          </ac:cxnSpMkLst>
        </pc:cxnChg>
        <pc:cxnChg chg="add del mod">
          <ac:chgData name="Richerzhagen, Bjoern (T CED WLN-DE)" userId="1be7a072-4164-461c-b9ed-ae3c5d97c1a8" providerId="ADAL" clId="{A27AFCC7-D8F6-44BC-A001-AAF1884E580A}" dt="2022-03-02T12:57:08.383" v="12834"/>
          <ac:cxnSpMkLst>
            <pc:docMk/>
            <pc:sldMk cId="4059184984" sldId="284"/>
            <ac:cxnSpMk id="49" creationId="{66C35FCA-8C29-4D60-8C49-B28C74F6D45C}"/>
          </ac:cxnSpMkLst>
        </pc:cxnChg>
        <pc:cxnChg chg="add del mod">
          <ac:chgData name="Richerzhagen, Bjoern (T CED WLN-DE)" userId="1be7a072-4164-461c-b9ed-ae3c5d97c1a8" providerId="ADAL" clId="{A27AFCC7-D8F6-44BC-A001-AAF1884E580A}" dt="2022-03-02T12:57:08.383" v="12834"/>
          <ac:cxnSpMkLst>
            <pc:docMk/>
            <pc:sldMk cId="4059184984" sldId="284"/>
            <ac:cxnSpMk id="51" creationId="{6D41142E-2329-4A0B-9CDF-64F7A98E0960}"/>
          </ac:cxnSpMkLst>
        </pc:cxnChg>
        <pc:cxnChg chg="add del mod">
          <ac:chgData name="Richerzhagen, Bjoern (T CED WLN-DE)" userId="1be7a072-4164-461c-b9ed-ae3c5d97c1a8" providerId="ADAL" clId="{A27AFCC7-D8F6-44BC-A001-AAF1884E580A}" dt="2022-03-02T12:57:08.383" v="12834"/>
          <ac:cxnSpMkLst>
            <pc:docMk/>
            <pc:sldMk cId="4059184984" sldId="284"/>
            <ac:cxnSpMk id="55" creationId="{4A16108E-3101-4D00-A602-1EF37A51F9D6}"/>
          </ac:cxnSpMkLst>
        </pc:cxnChg>
        <pc:cxnChg chg="add del mod">
          <ac:chgData name="Richerzhagen, Bjoern (T CED WLN-DE)" userId="1be7a072-4164-461c-b9ed-ae3c5d97c1a8" providerId="ADAL" clId="{A27AFCC7-D8F6-44BC-A001-AAF1884E580A}" dt="2022-03-02T12:57:08.383" v="12834"/>
          <ac:cxnSpMkLst>
            <pc:docMk/>
            <pc:sldMk cId="4059184984" sldId="284"/>
            <ac:cxnSpMk id="56" creationId="{BC5D7FF9-8474-411B-9430-3AF762A7DFF4}"/>
          </ac:cxnSpMkLst>
        </pc:cxnChg>
        <pc:cxnChg chg="add mod topLvl">
          <ac:chgData name="Richerzhagen, Bjoern (T CED WLN-DE)" userId="1be7a072-4164-461c-b9ed-ae3c5d97c1a8" providerId="ADAL" clId="{A27AFCC7-D8F6-44BC-A001-AAF1884E580A}" dt="2022-03-02T13:09:31.014" v="13177" actId="165"/>
          <ac:cxnSpMkLst>
            <pc:docMk/>
            <pc:sldMk cId="4059184984" sldId="284"/>
            <ac:cxnSpMk id="68" creationId="{EAB9D242-9393-4F48-A3BF-414DF785EAF4}"/>
          </ac:cxnSpMkLst>
        </pc:cxnChg>
        <pc:cxnChg chg="add mod topLvl">
          <ac:chgData name="Richerzhagen, Bjoern (T CED WLN-DE)" userId="1be7a072-4164-461c-b9ed-ae3c5d97c1a8" providerId="ADAL" clId="{A27AFCC7-D8F6-44BC-A001-AAF1884E580A}" dt="2022-03-02T13:09:31.014" v="13177" actId="165"/>
          <ac:cxnSpMkLst>
            <pc:docMk/>
            <pc:sldMk cId="4059184984" sldId="284"/>
            <ac:cxnSpMk id="73" creationId="{347BB79A-03AB-441B-9331-0CF28A9FC74C}"/>
          </ac:cxnSpMkLst>
        </pc:cxnChg>
        <pc:cxnChg chg="add mod topLvl">
          <ac:chgData name="Richerzhagen, Bjoern (T CED WLN-DE)" userId="1be7a072-4164-461c-b9ed-ae3c5d97c1a8" providerId="ADAL" clId="{A27AFCC7-D8F6-44BC-A001-AAF1884E580A}" dt="2022-03-02T13:09:31.014" v="13177" actId="165"/>
          <ac:cxnSpMkLst>
            <pc:docMk/>
            <pc:sldMk cId="4059184984" sldId="284"/>
            <ac:cxnSpMk id="78" creationId="{A5DB7864-E2BA-4492-8223-F68CDD747D38}"/>
          </ac:cxnSpMkLst>
        </pc:cxnChg>
        <pc:cxnChg chg="add del mod">
          <ac:chgData name="Richerzhagen, Bjoern (T CED WLN-DE)" userId="1be7a072-4164-461c-b9ed-ae3c5d97c1a8" providerId="ADAL" clId="{A27AFCC7-D8F6-44BC-A001-AAF1884E580A}" dt="2022-03-02T12:58:00.540" v="12923" actId="478"/>
          <ac:cxnSpMkLst>
            <pc:docMk/>
            <pc:sldMk cId="4059184984" sldId="284"/>
            <ac:cxnSpMk id="82" creationId="{6A671F17-DADD-4EAF-B838-77236452FC51}"/>
          </ac:cxnSpMkLst>
        </pc:cxnChg>
        <pc:cxnChg chg="add del mod">
          <ac:chgData name="Richerzhagen, Bjoern (T CED WLN-DE)" userId="1be7a072-4164-461c-b9ed-ae3c5d97c1a8" providerId="ADAL" clId="{A27AFCC7-D8F6-44BC-A001-AAF1884E580A}" dt="2022-03-02T12:57:59.214" v="12922" actId="478"/>
          <ac:cxnSpMkLst>
            <pc:docMk/>
            <pc:sldMk cId="4059184984" sldId="284"/>
            <ac:cxnSpMk id="84" creationId="{47F0E827-07C4-4127-84BE-5C48516044EE}"/>
          </ac:cxnSpMkLst>
        </pc:cxnChg>
        <pc:cxnChg chg="add mod topLvl">
          <ac:chgData name="Richerzhagen, Bjoern (T CED WLN-DE)" userId="1be7a072-4164-461c-b9ed-ae3c5d97c1a8" providerId="ADAL" clId="{A27AFCC7-D8F6-44BC-A001-AAF1884E580A}" dt="2022-03-02T13:09:31.014" v="13177" actId="165"/>
          <ac:cxnSpMkLst>
            <pc:docMk/>
            <pc:sldMk cId="4059184984" sldId="284"/>
            <ac:cxnSpMk id="88" creationId="{A96619AF-0516-4D31-BFAD-11FE16621ED4}"/>
          </ac:cxnSpMkLst>
        </pc:cxnChg>
        <pc:cxnChg chg="add mod topLvl">
          <ac:chgData name="Richerzhagen, Bjoern (T CED WLN-DE)" userId="1be7a072-4164-461c-b9ed-ae3c5d97c1a8" providerId="ADAL" clId="{A27AFCC7-D8F6-44BC-A001-AAF1884E580A}" dt="2022-03-02T13:09:31.014" v="13177" actId="165"/>
          <ac:cxnSpMkLst>
            <pc:docMk/>
            <pc:sldMk cId="4059184984" sldId="284"/>
            <ac:cxnSpMk id="89" creationId="{DEA02C49-33B8-499A-92CC-19D029B2D389}"/>
          </ac:cxnSpMkLst>
        </pc:cxnChg>
        <pc:cxnChg chg="add mod">
          <ac:chgData name="Richerzhagen, Bjoern (T CED WLN-DE)" userId="1be7a072-4164-461c-b9ed-ae3c5d97c1a8" providerId="ADAL" clId="{A27AFCC7-D8F6-44BC-A001-AAF1884E580A}" dt="2022-03-02T13:09:31.014" v="13177" actId="165"/>
          <ac:cxnSpMkLst>
            <pc:docMk/>
            <pc:sldMk cId="4059184984" sldId="284"/>
            <ac:cxnSpMk id="92" creationId="{4B12E25F-9B51-4D13-A92C-0C228D157D1B}"/>
          </ac:cxnSpMkLst>
        </pc:cxnChg>
        <pc:cxnChg chg="add mod">
          <ac:chgData name="Richerzhagen, Bjoern (T CED WLN-DE)" userId="1be7a072-4164-461c-b9ed-ae3c5d97c1a8" providerId="ADAL" clId="{A27AFCC7-D8F6-44BC-A001-AAF1884E580A}" dt="2022-03-02T13:14:13.313" v="13306" actId="1036"/>
          <ac:cxnSpMkLst>
            <pc:docMk/>
            <pc:sldMk cId="4059184984" sldId="284"/>
            <ac:cxnSpMk id="113" creationId="{AEC1CDFF-6BC1-416F-B78A-9234067879B7}"/>
          </ac:cxnSpMkLst>
        </pc:cxnChg>
        <pc:cxnChg chg="add mod">
          <ac:chgData name="Richerzhagen, Bjoern (T CED WLN-DE)" userId="1be7a072-4164-461c-b9ed-ae3c5d97c1a8" providerId="ADAL" clId="{A27AFCC7-D8F6-44BC-A001-AAF1884E580A}" dt="2022-03-02T13:14:13.313" v="13306" actId="1036"/>
          <ac:cxnSpMkLst>
            <pc:docMk/>
            <pc:sldMk cId="4059184984" sldId="284"/>
            <ac:cxnSpMk id="114" creationId="{443DB871-309A-4717-B608-C87EA679D6A2}"/>
          </ac:cxnSpMkLst>
        </pc:cxnChg>
        <pc:cxnChg chg="add mod">
          <ac:chgData name="Richerzhagen, Bjoern (T CED WLN-DE)" userId="1be7a072-4164-461c-b9ed-ae3c5d97c1a8" providerId="ADAL" clId="{A27AFCC7-D8F6-44BC-A001-AAF1884E580A}" dt="2022-03-02T13:14:13.313" v="13306" actId="1036"/>
          <ac:cxnSpMkLst>
            <pc:docMk/>
            <pc:sldMk cId="4059184984" sldId="284"/>
            <ac:cxnSpMk id="118" creationId="{B1FCA41D-99B1-44A5-B50B-4FAF9E0D0FFD}"/>
          </ac:cxnSpMkLst>
        </pc:cxnChg>
        <pc:cxnChg chg="add mod">
          <ac:chgData name="Richerzhagen, Bjoern (T CED WLN-DE)" userId="1be7a072-4164-461c-b9ed-ae3c5d97c1a8" providerId="ADAL" clId="{A27AFCC7-D8F6-44BC-A001-AAF1884E580A}" dt="2022-03-02T13:14:13.313" v="13306" actId="1036"/>
          <ac:cxnSpMkLst>
            <pc:docMk/>
            <pc:sldMk cId="4059184984" sldId="284"/>
            <ac:cxnSpMk id="121" creationId="{A932FF1E-8606-4BED-BEEB-4244CEA3EF7A}"/>
          </ac:cxnSpMkLst>
        </pc:cxnChg>
        <pc:cxnChg chg="add mod">
          <ac:chgData name="Richerzhagen, Bjoern (T CED WLN-DE)" userId="1be7a072-4164-461c-b9ed-ae3c5d97c1a8" providerId="ADAL" clId="{A27AFCC7-D8F6-44BC-A001-AAF1884E580A}" dt="2022-03-02T13:25:10.233" v="13561" actId="1582"/>
          <ac:cxnSpMkLst>
            <pc:docMk/>
            <pc:sldMk cId="4059184984" sldId="284"/>
            <ac:cxnSpMk id="160" creationId="{8E5B9168-3D5E-494C-99F9-281C808DC71D}"/>
          </ac:cxnSpMkLst>
        </pc:cxnChg>
      </pc:sldChg>
      <pc:sldChg chg="addSp delSp modSp add mod ord modShow chgLayout modNotes">
        <pc:chgData name="Richerzhagen, Bjoern (T CED WLN-DE)" userId="1be7a072-4164-461c-b9ed-ae3c5d97c1a8" providerId="ADAL" clId="{A27AFCC7-D8F6-44BC-A001-AAF1884E580A}" dt="2022-03-02T14:09:55.305" v="15113"/>
        <pc:sldMkLst>
          <pc:docMk/>
          <pc:sldMk cId="181018566" sldId="285"/>
        </pc:sldMkLst>
        <pc:spChg chg="add del mod">
          <ac:chgData name="Richerzhagen, Bjoern (T CED WLN-DE)" userId="1be7a072-4164-461c-b9ed-ae3c5d97c1a8" providerId="ADAL" clId="{A27AFCC7-D8F6-44BC-A001-AAF1884E580A}" dt="2022-02-25T07:37:24.730" v="1495" actId="478"/>
          <ac:spMkLst>
            <pc:docMk/>
            <pc:sldMk cId="181018566" sldId="285"/>
            <ac:spMk id="2" creationId="{7E9017F9-3CAE-41E7-A438-60BCA357F2B1}"/>
          </ac:spMkLst>
        </pc:spChg>
        <pc:spChg chg="mod ord">
          <ac:chgData name="Richerzhagen, Bjoern (T CED WLN-DE)" userId="1be7a072-4164-461c-b9ed-ae3c5d97c1a8" providerId="ADAL" clId="{A27AFCC7-D8F6-44BC-A001-AAF1884E580A}" dt="2022-02-28T13:39:53.963" v="4198" actId="700"/>
          <ac:spMkLst>
            <pc:docMk/>
            <pc:sldMk cId="181018566" sldId="285"/>
            <ac:spMk id="4" creationId="{EDA2E8E9-22AB-4AD1-9C82-3D348D05D62E}"/>
          </ac:spMkLst>
        </pc:spChg>
        <pc:spChg chg="mod ord">
          <ac:chgData name="Richerzhagen, Bjoern (T CED WLN-DE)" userId="1be7a072-4164-461c-b9ed-ae3c5d97c1a8" providerId="ADAL" clId="{A27AFCC7-D8F6-44BC-A001-AAF1884E580A}" dt="2022-03-01T13:27:18.391" v="5995" actId="27636"/>
          <ac:spMkLst>
            <pc:docMk/>
            <pc:sldMk cId="181018566" sldId="285"/>
            <ac:spMk id="5" creationId="{30333122-4CB5-44EF-BDCB-FE8BCF4A1840}"/>
          </ac:spMkLst>
        </pc:spChg>
        <pc:spChg chg="mod">
          <ac:chgData name="Richerzhagen, Bjoern (T CED WLN-DE)" userId="1be7a072-4164-461c-b9ed-ae3c5d97c1a8" providerId="ADAL" clId="{A27AFCC7-D8F6-44BC-A001-AAF1884E580A}" dt="2022-02-28T10:07:45.714" v="3713" actId="20577"/>
          <ac:spMkLst>
            <pc:docMk/>
            <pc:sldMk cId="181018566" sldId="285"/>
            <ac:spMk id="6" creationId="{39CF1D87-9599-4A41-A263-BC9C4B92FDAF}"/>
          </ac:spMkLst>
        </pc:spChg>
        <pc:spChg chg="mod">
          <ac:chgData name="Richerzhagen, Bjoern (T CED WLN-DE)" userId="1be7a072-4164-461c-b9ed-ae3c5d97c1a8" providerId="ADAL" clId="{A27AFCC7-D8F6-44BC-A001-AAF1884E580A}" dt="2022-02-28T13:39:57.932" v="4199" actId="207"/>
          <ac:spMkLst>
            <pc:docMk/>
            <pc:sldMk cId="181018566" sldId="285"/>
            <ac:spMk id="9" creationId="{936F1348-EE86-4B87-9391-642A20E01B4E}"/>
          </ac:spMkLst>
        </pc:spChg>
        <pc:spChg chg="mod">
          <ac:chgData name="Richerzhagen, Bjoern (T CED WLN-DE)" userId="1be7a072-4164-461c-b9ed-ae3c5d97c1a8" providerId="ADAL" clId="{A27AFCC7-D8F6-44BC-A001-AAF1884E580A}" dt="2022-03-01T13:24:11.263" v="5988"/>
          <ac:spMkLst>
            <pc:docMk/>
            <pc:sldMk cId="181018566" sldId="285"/>
            <ac:spMk id="13" creationId="{DF1A3E87-225E-4DEF-960C-1E7D68496839}"/>
          </ac:spMkLst>
        </pc:spChg>
        <pc:spChg chg="mod">
          <ac:chgData name="Richerzhagen, Bjoern (T CED WLN-DE)" userId="1be7a072-4164-461c-b9ed-ae3c5d97c1a8" providerId="ADAL" clId="{A27AFCC7-D8F6-44BC-A001-AAF1884E580A}" dt="2022-03-01T13:24:11.263" v="5988"/>
          <ac:spMkLst>
            <pc:docMk/>
            <pc:sldMk cId="181018566" sldId="285"/>
            <ac:spMk id="14" creationId="{304F4EE0-A23D-4493-871E-F63FBE48AD72}"/>
          </ac:spMkLst>
        </pc:spChg>
        <pc:spChg chg="mod">
          <ac:chgData name="Richerzhagen, Bjoern (T CED WLN-DE)" userId="1be7a072-4164-461c-b9ed-ae3c5d97c1a8" providerId="ADAL" clId="{A27AFCC7-D8F6-44BC-A001-AAF1884E580A}" dt="2022-03-01T13:24:11.263" v="5988"/>
          <ac:spMkLst>
            <pc:docMk/>
            <pc:sldMk cId="181018566" sldId="285"/>
            <ac:spMk id="15" creationId="{A0D91301-AC54-4C2D-9A26-4F516472037F}"/>
          </ac:spMkLst>
        </pc:spChg>
        <pc:spChg chg="mod">
          <ac:chgData name="Richerzhagen, Bjoern (T CED WLN-DE)" userId="1be7a072-4164-461c-b9ed-ae3c5d97c1a8" providerId="ADAL" clId="{A27AFCC7-D8F6-44BC-A001-AAF1884E580A}" dt="2022-03-01T13:24:11.263" v="5988"/>
          <ac:spMkLst>
            <pc:docMk/>
            <pc:sldMk cId="181018566" sldId="285"/>
            <ac:spMk id="18" creationId="{B8627511-B3ED-455F-9F88-FC0226FCAB34}"/>
          </ac:spMkLst>
        </pc:spChg>
        <pc:grpChg chg="add del mod">
          <ac:chgData name="Richerzhagen, Bjoern (T CED WLN-DE)" userId="1be7a072-4164-461c-b9ed-ae3c5d97c1a8" providerId="ADAL" clId="{A27AFCC7-D8F6-44BC-A001-AAF1884E580A}" dt="2022-03-02T07:26:09.844" v="10321" actId="478"/>
          <ac:grpSpMkLst>
            <pc:docMk/>
            <pc:sldMk cId="181018566" sldId="285"/>
            <ac:grpSpMk id="12" creationId="{A74C2C9D-2DA0-40B0-9C32-2F09A2D278D1}"/>
          </ac:grpSpMkLst>
        </pc:grpChg>
        <pc:picChg chg="del">
          <ac:chgData name="Richerzhagen, Bjoern (T CED WLN-DE)" userId="1be7a072-4164-461c-b9ed-ae3c5d97c1a8" providerId="ADAL" clId="{A27AFCC7-D8F6-44BC-A001-AAF1884E580A}" dt="2022-02-25T07:51:07.160" v="2939" actId="478"/>
          <ac:picMkLst>
            <pc:docMk/>
            <pc:sldMk cId="181018566" sldId="285"/>
            <ac:picMk id="29" creationId="{F73276CE-B2A8-473C-8CE2-F532C1DD282C}"/>
          </ac:picMkLst>
        </pc:picChg>
      </pc:sldChg>
      <pc:sldChg chg="new del">
        <pc:chgData name="Richerzhagen, Bjoern (T CED WLN-DE)" userId="1be7a072-4164-461c-b9ed-ae3c5d97c1a8" providerId="ADAL" clId="{A27AFCC7-D8F6-44BC-A001-AAF1884E580A}" dt="2022-02-25T07:32:16.396" v="1376" actId="47"/>
        <pc:sldMkLst>
          <pc:docMk/>
          <pc:sldMk cId="1309280085" sldId="285"/>
        </pc:sldMkLst>
      </pc:sldChg>
      <pc:sldChg chg="addSp delSp modSp add mod ord modShow modNotes">
        <pc:chgData name="Richerzhagen, Bjoern (T CED WLN-DE)" userId="1be7a072-4164-461c-b9ed-ae3c5d97c1a8" providerId="ADAL" clId="{A27AFCC7-D8F6-44BC-A001-AAF1884E580A}" dt="2022-03-02T14:15:35.490" v="15229" actId="729"/>
        <pc:sldMkLst>
          <pc:docMk/>
          <pc:sldMk cId="1440571170" sldId="286"/>
        </pc:sldMkLst>
        <pc:spChg chg="mod">
          <ac:chgData name="Richerzhagen, Bjoern (T CED WLN-DE)" userId="1be7a072-4164-461c-b9ed-ae3c5d97c1a8" providerId="ADAL" clId="{A27AFCC7-D8F6-44BC-A001-AAF1884E580A}" dt="2022-02-25T07:37:43.329" v="1550" actId="313"/>
          <ac:spMkLst>
            <pc:docMk/>
            <pc:sldMk cId="1440571170" sldId="286"/>
            <ac:spMk id="4" creationId="{EDA2E8E9-22AB-4AD1-9C82-3D348D05D62E}"/>
          </ac:spMkLst>
        </pc:spChg>
        <pc:spChg chg="mod">
          <ac:chgData name="Richerzhagen, Bjoern (T CED WLN-DE)" userId="1be7a072-4164-461c-b9ed-ae3c5d97c1a8" providerId="ADAL" clId="{A27AFCC7-D8F6-44BC-A001-AAF1884E580A}" dt="2022-02-25T07:38:07.381" v="1638" actId="20577"/>
          <ac:spMkLst>
            <pc:docMk/>
            <pc:sldMk cId="1440571170" sldId="286"/>
            <ac:spMk id="5" creationId="{30333122-4CB5-44EF-BDCB-FE8BCF4A1840}"/>
          </ac:spMkLst>
        </pc:spChg>
        <pc:picChg chg="add mod">
          <ac:chgData name="Richerzhagen, Bjoern (T CED WLN-DE)" userId="1be7a072-4164-461c-b9ed-ae3c5d97c1a8" providerId="ADAL" clId="{A27AFCC7-D8F6-44BC-A001-AAF1884E580A}" dt="2022-02-25T07:38:25.518" v="1642" actId="1076"/>
          <ac:picMkLst>
            <pc:docMk/>
            <pc:sldMk cId="1440571170" sldId="286"/>
            <ac:picMk id="6" creationId="{95ABBC3A-4F12-4D6F-A23B-905E25CBB3A9}"/>
          </ac:picMkLst>
        </pc:picChg>
        <pc:picChg chg="add del mod">
          <ac:chgData name="Richerzhagen, Bjoern (T CED WLN-DE)" userId="1be7a072-4164-461c-b9ed-ae3c5d97c1a8" providerId="ADAL" clId="{A27AFCC7-D8F6-44BC-A001-AAF1884E580A}" dt="2022-03-02T08:31:15.557" v="11859" actId="21"/>
          <ac:picMkLst>
            <pc:docMk/>
            <pc:sldMk cId="1440571170" sldId="286"/>
            <ac:picMk id="7" creationId="{14D37DF9-2C81-497D-8E10-2D8FF5F9FEDB}"/>
          </ac:picMkLst>
        </pc:picChg>
        <pc:picChg chg="add del mod">
          <ac:chgData name="Richerzhagen, Bjoern (T CED WLN-DE)" userId="1be7a072-4164-461c-b9ed-ae3c5d97c1a8" providerId="ADAL" clId="{A27AFCC7-D8F6-44BC-A001-AAF1884E580A}" dt="2022-03-02T08:31:04.686" v="11858" actId="478"/>
          <ac:picMkLst>
            <pc:docMk/>
            <pc:sldMk cId="1440571170" sldId="286"/>
            <ac:picMk id="8" creationId="{52C43125-8CFF-4CA7-BA2B-1F19DAD23065}"/>
          </ac:picMkLst>
        </pc:picChg>
      </pc:sldChg>
      <pc:sldChg chg="addSp delSp modSp add mod ord modShow chgLayout modNotes">
        <pc:chgData name="Richerzhagen, Bjoern (T CED WLN-DE)" userId="1be7a072-4164-461c-b9ed-ae3c5d97c1a8" providerId="ADAL" clId="{A27AFCC7-D8F6-44BC-A001-AAF1884E580A}" dt="2022-03-08T07:23:22.458" v="16797" actId="478"/>
        <pc:sldMkLst>
          <pc:docMk/>
          <pc:sldMk cId="1662346799" sldId="287"/>
        </pc:sldMkLst>
        <pc:spChg chg="mod ord">
          <ac:chgData name="Richerzhagen, Bjoern (T CED WLN-DE)" userId="1be7a072-4164-461c-b9ed-ae3c5d97c1a8" providerId="ADAL" clId="{A27AFCC7-D8F6-44BC-A001-AAF1884E580A}" dt="2022-02-28T13:40:10.538" v="4202" actId="700"/>
          <ac:spMkLst>
            <pc:docMk/>
            <pc:sldMk cId="1662346799" sldId="287"/>
            <ac:spMk id="4" creationId="{EDA2E8E9-22AB-4AD1-9C82-3D348D05D62E}"/>
          </ac:spMkLst>
        </pc:spChg>
        <pc:spChg chg="mod ord">
          <ac:chgData name="Richerzhagen, Bjoern (T CED WLN-DE)" userId="1be7a072-4164-461c-b9ed-ae3c5d97c1a8" providerId="ADAL" clId="{A27AFCC7-D8F6-44BC-A001-AAF1884E580A}" dt="2022-03-02T08:17:41.026" v="11653" actId="20577"/>
          <ac:spMkLst>
            <pc:docMk/>
            <pc:sldMk cId="1662346799" sldId="287"/>
            <ac:spMk id="5" creationId="{30333122-4CB5-44EF-BDCB-FE8BCF4A1840}"/>
          </ac:spMkLst>
        </pc:spChg>
        <pc:spChg chg="mod">
          <ac:chgData name="Richerzhagen, Bjoern (T CED WLN-DE)" userId="1be7a072-4164-461c-b9ed-ae3c5d97c1a8" providerId="ADAL" clId="{A27AFCC7-D8F6-44BC-A001-AAF1884E580A}" dt="2022-02-28T13:40:13.214" v="4203" actId="207"/>
          <ac:spMkLst>
            <pc:docMk/>
            <pc:sldMk cId="1662346799" sldId="287"/>
            <ac:spMk id="9" creationId="{936F1348-EE86-4B87-9391-642A20E01B4E}"/>
          </ac:spMkLst>
        </pc:spChg>
        <pc:spChg chg="add mod">
          <ac:chgData name="Richerzhagen, Bjoern (T CED WLN-DE)" userId="1be7a072-4164-461c-b9ed-ae3c5d97c1a8" providerId="ADAL" clId="{A27AFCC7-D8F6-44BC-A001-AAF1884E580A}" dt="2022-03-02T08:10:53.586" v="11611" actId="6549"/>
          <ac:spMkLst>
            <pc:docMk/>
            <pc:sldMk cId="1662346799" sldId="287"/>
            <ac:spMk id="12" creationId="{702D5DFF-96CB-4A36-BDBF-EEEE8C6C5F57}"/>
          </ac:spMkLst>
        </pc:spChg>
        <pc:spChg chg="mod">
          <ac:chgData name="Richerzhagen, Bjoern (T CED WLN-DE)" userId="1be7a072-4164-461c-b9ed-ae3c5d97c1a8" providerId="ADAL" clId="{A27AFCC7-D8F6-44BC-A001-AAF1884E580A}" dt="2022-03-01T15:38:44.293" v="7507" actId="14100"/>
          <ac:spMkLst>
            <pc:docMk/>
            <pc:sldMk cId="1662346799" sldId="287"/>
            <ac:spMk id="14" creationId="{53E84D38-4CEA-4C94-8382-535B8AD59AB6}"/>
          </ac:spMkLst>
        </pc:spChg>
        <pc:spChg chg="mod">
          <ac:chgData name="Richerzhagen, Bjoern (T CED WLN-DE)" userId="1be7a072-4164-461c-b9ed-ae3c5d97c1a8" providerId="ADAL" clId="{A27AFCC7-D8F6-44BC-A001-AAF1884E580A}" dt="2022-03-01T15:38:23.209" v="7504" actId="14100"/>
          <ac:spMkLst>
            <pc:docMk/>
            <pc:sldMk cId="1662346799" sldId="287"/>
            <ac:spMk id="15" creationId="{F4A28177-2682-413E-BC69-799AECEF490B}"/>
          </ac:spMkLst>
        </pc:spChg>
        <pc:spChg chg="mod">
          <ac:chgData name="Richerzhagen, Bjoern (T CED WLN-DE)" userId="1be7a072-4164-461c-b9ed-ae3c5d97c1a8" providerId="ADAL" clId="{A27AFCC7-D8F6-44BC-A001-AAF1884E580A}" dt="2022-03-01T15:37:32.893" v="7491"/>
          <ac:spMkLst>
            <pc:docMk/>
            <pc:sldMk cId="1662346799" sldId="287"/>
            <ac:spMk id="18" creationId="{73A92A06-277F-4037-BA86-72E11E552D93}"/>
          </ac:spMkLst>
        </pc:spChg>
        <pc:spChg chg="mod">
          <ac:chgData name="Richerzhagen, Bjoern (T CED WLN-DE)" userId="1be7a072-4164-461c-b9ed-ae3c5d97c1a8" providerId="ADAL" clId="{A27AFCC7-D8F6-44BC-A001-AAF1884E580A}" dt="2022-03-01T15:37:32.893" v="7491"/>
          <ac:spMkLst>
            <pc:docMk/>
            <pc:sldMk cId="1662346799" sldId="287"/>
            <ac:spMk id="19" creationId="{2CC60121-2453-4B28-A38C-58BBB411D444}"/>
          </ac:spMkLst>
        </pc:spChg>
        <pc:spChg chg="mod">
          <ac:chgData name="Richerzhagen, Bjoern (T CED WLN-DE)" userId="1be7a072-4164-461c-b9ed-ae3c5d97c1a8" providerId="ADAL" clId="{A27AFCC7-D8F6-44BC-A001-AAF1884E580A}" dt="2022-03-01T15:38:09.599" v="7500"/>
          <ac:spMkLst>
            <pc:docMk/>
            <pc:sldMk cId="1662346799" sldId="287"/>
            <ac:spMk id="25" creationId="{89F3ADEE-C907-443C-BBA3-64236BC7728F}"/>
          </ac:spMkLst>
        </pc:spChg>
        <pc:spChg chg="mod">
          <ac:chgData name="Richerzhagen, Bjoern (T CED WLN-DE)" userId="1be7a072-4164-461c-b9ed-ae3c5d97c1a8" providerId="ADAL" clId="{A27AFCC7-D8F6-44BC-A001-AAF1884E580A}" dt="2022-03-01T15:38:09.599" v="7500"/>
          <ac:spMkLst>
            <pc:docMk/>
            <pc:sldMk cId="1662346799" sldId="287"/>
            <ac:spMk id="26" creationId="{7E6FB2A7-36DC-4B94-86EC-F50DC4DDC95B}"/>
          </ac:spMkLst>
        </pc:spChg>
        <pc:spChg chg="mod">
          <ac:chgData name="Richerzhagen, Bjoern (T CED WLN-DE)" userId="1be7a072-4164-461c-b9ed-ae3c5d97c1a8" providerId="ADAL" clId="{A27AFCC7-D8F6-44BC-A001-AAF1884E580A}" dt="2022-03-01T15:38:09.599" v="7500"/>
          <ac:spMkLst>
            <pc:docMk/>
            <pc:sldMk cId="1662346799" sldId="287"/>
            <ac:spMk id="27" creationId="{371EB5E6-33F2-4981-A2D4-A337A5B418D3}"/>
          </ac:spMkLst>
        </pc:spChg>
        <pc:spChg chg="mod">
          <ac:chgData name="Richerzhagen, Bjoern (T CED WLN-DE)" userId="1be7a072-4164-461c-b9ed-ae3c5d97c1a8" providerId="ADAL" clId="{A27AFCC7-D8F6-44BC-A001-AAF1884E580A}" dt="2022-03-01T15:38:09.599" v="7500"/>
          <ac:spMkLst>
            <pc:docMk/>
            <pc:sldMk cId="1662346799" sldId="287"/>
            <ac:spMk id="28" creationId="{51EDD2BA-13A9-4D64-8238-62C44937841B}"/>
          </ac:spMkLst>
        </pc:spChg>
        <pc:spChg chg="add del mod">
          <ac:chgData name="Richerzhagen, Bjoern (T CED WLN-DE)" userId="1be7a072-4164-461c-b9ed-ae3c5d97c1a8" providerId="ADAL" clId="{A27AFCC7-D8F6-44BC-A001-AAF1884E580A}" dt="2022-03-08T07:23:22.458" v="16797" actId="478"/>
          <ac:spMkLst>
            <pc:docMk/>
            <pc:sldMk cId="1662346799" sldId="287"/>
            <ac:spMk id="29" creationId="{DFF5BE1F-1E8F-4157-BF43-4173CCEC4D64}"/>
          </ac:spMkLst>
        </pc:spChg>
        <pc:spChg chg="add mod">
          <ac:chgData name="Richerzhagen, Bjoern (T CED WLN-DE)" userId="1be7a072-4164-461c-b9ed-ae3c5d97c1a8" providerId="ADAL" clId="{A27AFCC7-D8F6-44BC-A001-AAF1884E580A}" dt="2022-03-02T13:30:12.289" v="13674"/>
          <ac:spMkLst>
            <pc:docMk/>
            <pc:sldMk cId="1662346799" sldId="287"/>
            <ac:spMk id="35" creationId="{7D5005BA-0638-4041-A4FC-0F8D0C4D02EA}"/>
          </ac:spMkLst>
        </pc:spChg>
        <pc:grpChg chg="add mod">
          <ac:chgData name="Richerzhagen, Bjoern (T CED WLN-DE)" userId="1be7a072-4164-461c-b9ed-ae3c5d97c1a8" providerId="ADAL" clId="{A27AFCC7-D8F6-44BC-A001-AAF1884E580A}" dt="2022-03-02T07:24:58.743" v="10320" actId="1035"/>
          <ac:grpSpMkLst>
            <pc:docMk/>
            <pc:sldMk cId="1662346799" sldId="287"/>
            <ac:grpSpMk id="13" creationId="{AC244666-D008-473F-B724-8BE936B356E7}"/>
          </ac:grpSpMkLst>
        </pc:grpChg>
        <pc:grpChg chg="add mod">
          <ac:chgData name="Richerzhagen, Bjoern (T CED WLN-DE)" userId="1be7a072-4164-461c-b9ed-ae3c5d97c1a8" providerId="ADAL" clId="{A27AFCC7-D8F6-44BC-A001-AAF1884E580A}" dt="2022-03-02T07:24:58.743" v="10320" actId="1035"/>
          <ac:grpSpMkLst>
            <pc:docMk/>
            <pc:sldMk cId="1662346799" sldId="287"/>
            <ac:grpSpMk id="20" creationId="{5171053C-9ED7-4B09-B146-732477354470}"/>
          </ac:grpSpMkLst>
        </pc:grpChg>
        <pc:picChg chg="del">
          <ac:chgData name="Richerzhagen, Bjoern (T CED WLN-DE)" userId="1be7a072-4164-461c-b9ed-ae3c5d97c1a8" providerId="ADAL" clId="{A27AFCC7-D8F6-44BC-A001-AAF1884E580A}" dt="2022-02-25T07:51:09.365" v="2940" actId="478"/>
          <ac:picMkLst>
            <pc:docMk/>
            <pc:sldMk cId="1662346799" sldId="287"/>
            <ac:picMk id="29" creationId="{F73276CE-B2A8-473C-8CE2-F532C1DD282C}"/>
          </ac:picMkLst>
        </pc:picChg>
        <pc:picChg chg="add mod">
          <ac:chgData name="Richerzhagen, Bjoern (T CED WLN-DE)" userId="1be7a072-4164-461c-b9ed-ae3c5d97c1a8" providerId="ADAL" clId="{A27AFCC7-D8F6-44BC-A001-AAF1884E580A}" dt="2022-03-02T13:29:58.990" v="13670" actId="1076"/>
          <ac:picMkLst>
            <pc:docMk/>
            <pc:sldMk cId="1662346799" sldId="287"/>
            <ac:picMk id="30" creationId="{D091E6D3-8A22-4EC0-B24D-A2930D0E00FD}"/>
          </ac:picMkLst>
        </pc:picChg>
        <pc:picChg chg="add mod">
          <ac:chgData name="Richerzhagen, Bjoern (T CED WLN-DE)" userId="1be7a072-4164-461c-b9ed-ae3c5d97c1a8" providerId="ADAL" clId="{A27AFCC7-D8F6-44BC-A001-AAF1884E580A}" dt="2022-03-02T13:29:57.683" v="13669" actId="1076"/>
          <ac:picMkLst>
            <pc:docMk/>
            <pc:sldMk cId="1662346799" sldId="287"/>
            <ac:picMk id="31" creationId="{BDC6F638-D9DA-4D77-A183-F12852FFC1C6}"/>
          </ac:picMkLst>
        </pc:picChg>
        <pc:picChg chg="add mod">
          <ac:chgData name="Richerzhagen, Bjoern (T CED WLN-DE)" userId="1be7a072-4164-461c-b9ed-ae3c5d97c1a8" providerId="ADAL" clId="{A27AFCC7-D8F6-44BC-A001-AAF1884E580A}" dt="2022-03-02T13:30:00.351" v="13671" actId="1076"/>
          <ac:picMkLst>
            <pc:docMk/>
            <pc:sldMk cId="1662346799" sldId="287"/>
            <ac:picMk id="32" creationId="{E1FA68E2-F1BD-44D8-9179-7934351B8A7F}"/>
          </ac:picMkLst>
        </pc:picChg>
        <pc:picChg chg="add del mod">
          <ac:chgData name="Richerzhagen, Bjoern (T CED WLN-DE)" userId="1be7a072-4164-461c-b9ed-ae3c5d97c1a8" providerId="ADAL" clId="{A27AFCC7-D8F6-44BC-A001-AAF1884E580A}" dt="2022-03-02T13:29:55.773" v="13668" actId="478"/>
          <ac:picMkLst>
            <pc:docMk/>
            <pc:sldMk cId="1662346799" sldId="287"/>
            <ac:picMk id="33" creationId="{BBF31A70-7844-4FA5-BFA7-51164E6054FA}"/>
          </ac:picMkLst>
        </pc:picChg>
        <pc:picChg chg="add del mod">
          <ac:chgData name="Richerzhagen, Bjoern (T CED WLN-DE)" userId="1be7a072-4164-461c-b9ed-ae3c5d97c1a8" providerId="ADAL" clId="{A27AFCC7-D8F6-44BC-A001-AAF1884E580A}" dt="2022-03-02T13:29:54.662" v="13667" actId="478"/>
          <ac:picMkLst>
            <pc:docMk/>
            <pc:sldMk cId="1662346799" sldId="287"/>
            <ac:picMk id="34" creationId="{38174EAD-C264-4CAC-A7AA-161B998CCE06}"/>
          </ac:picMkLst>
        </pc:picChg>
      </pc:sldChg>
      <pc:sldChg chg="add del">
        <pc:chgData name="Richerzhagen, Bjoern (T CED WLN-DE)" userId="1be7a072-4164-461c-b9ed-ae3c5d97c1a8" providerId="ADAL" clId="{A27AFCC7-D8F6-44BC-A001-AAF1884E580A}" dt="2022-02-25T07:39:03.455" v="1651" actId="47"/>
        <pc:sldMkLst>
          <pc:docMk/>
          <pc:sldMk cId="2268476010" sldId="287"/>
        </pc:sldMkLst>
      </pc:sldChg>
      <pc:sldChg chg="addSp delSp modSp add mod chgLayout modNotes modNotesTx">
        <pc:chgData name="Richerzhagen, Bjoern (T CED WLN-DE)" userId="1be7a072-4164-461c-b9ed-ae3c5d97c1a8" providerId="ADAL" clId="{A27AFCC7-D8F6-44BC-A001-AAF1884E580A}" dt="2022-03-08T10:06:23.251" v="33899" actId="20577"/>
        <pc:sldMkLst>
          <pc:docMk/>
          <pc:sldMk cId="695611138" sldId="288"/>
        </pc:sldMkLst>
        <pc:spChg chg="add del mod">
          <ac:chgData name="Richerzhagen, Bjoern (T CED WLN-DE)" userId="1be7a072-4164-461c-b9ed-ae3c5d97c1a8" providerId="ADAL" clId="{A27AFCC7-D8F6-44BC-A001-AAF1884E580A}" dt="2022-03-02T13:59:29.134" v="14411" actId="478"/>
          <ac:spMkLst>
            <pc:docMk/>
            <pc:sldMk cId="695611138" sldId="288"/>
            <ac:spMk id="2" creationId="{1B20887F-E360-44F3-A4C2-644CC45F0B9F}"/>
          </ac:spMkLst>
        </pc:spChg>
        <pc:spChg chg="add del mod">
          <ac:chgData name="Richerzhagen, Bjoern (T CED WLN-DE)" userId="1be7a072-4164-461c-b9ed-ae3c5d97c1a8" providerId="ADAL" clId="{A27AFCC7-D8F6-44BC-A001-AAF1884E580A}" dt="2022-03-02T13:59:29.134" v="14411" actId="478"/>
          <ac:spMkLst>
            <pc:docMk/>
            <pc:sldMk cId="695611138" sldId="288"/>
            <ac:spMk id="3" creationId="{751085E2-52CC-468A-BE75-0845E2753D2D}"/>
          </ac:spMkLst>
        </pc:spChg>
        <pc:spChg chg="mod ord">
          <ac:chgData name="Richerzhagen, Bjoern (T CED WLN-DE)" userId="1be7a072-4164-461c-b9ed-ae3c5d97c1a8" providerId="ADAL" clId="{A27AFCC7-D8F6-44BC-A001-AAF1884E580A}" dt="2022-02-28T13:40:26.534" v="4206" actId="700"/>
          <ac:spMkLst>
            <pc:docMk/>
            <pc:sldMk cId="695611138" sldId="288"/>
            <ac:spMk id="4" creationId="{EDA2E8E9-22AB-4AD1-9C82-3D348D05D62E}"/>
          </ac:spMkLst>
        </pc:spChg>
        <pc:spChg chg="mod ord">
          <ac:chgData name="Richerzhagen, Bjoern (T CED WLN-DE)" userId="1be7a072-4164-461c-b9ed-ae3c5d97c1a8" providerId="ADAL" clId="{A27AFCC7-D8F6-44BC-A001-AAF1884E580A}" dt="2022-03-02T14:06:17.201" v="14859" actId="113"/>
          <ac:spMkLst>
            <pc:docMk/>
            <pc:sldMk cId="695611138" sldId="288"/>
            <ac:spMk id="5" creationId="{30333122-4CB5-44EF-BDCB-FE8BCF4A1840}"/>
          </ac:spMkLst>
        </pc:spChg>
        <pc:spChg chg="mod">
          <ac:chgData name="Richerzhagen, Bjoern (T CED WLN-DE)" userId="1be7a072-4164-461c-b9ed-ae3c5d97c1a8" providerId="ADAL" clId="{A27AFCC7-D8F6-44BC-A001-AAF1884E580A}" dt="2022-02-28T13:40:29.707" v="4207" actId="207"/>
          <ac:spMkLst>
            <pc:docMk/>
            <pc:sldMk cId="695611138" sldId="288"/>
            <ac:spMk id="9" creationId="{936F1348-EE86-4B87-9391-642A20E01B4E}"/>
          </ac:spMkLst>
        </pc:spChg>
        <pc:spChg chg="add mod">
          <ac:chgData name="Richerzhagen, Bjoern (T CED WLN-DE)" userId="1be7a072-4164-461c-b9ed-ae3c5d97c1a8" providerId="ADAL" clId="{A27AFCC7-D8F6-44BC-A001-AAF1884E580A}" dt="2022-03-08T08:05:36.533" v="17068" actId="6549"/>
          <ac:spMkLst>
            <pc:docMk/>
            <pc:sldMk cId="695611138" sldId="288"/>
            <ac:spMk id="12" creationId="{E33226AB-29D7-46FF-A288-FCECC311B807}"/>
          </ac:spMkLst>
        </pc:spChg>
        <pc:spChg chg="mod">
          <ac:chgData name="Richerzhagen, Bjoern (T CED WLN-DE)" userId="1be7a072-4164-461c-b9ed-ae3c5d97c1a8" providerId="ADAL" clId="{A27AFCC7-D8F6-44BC-A001-AAF1884E580A}" dt="2022-03-01T15:44:03.932" v="7749"/>
          <ac:spMkLst>
            <pc:docMk/>
            <pc:sldMk cId="695611138" sldId="288"/>
            <ac:spMk id="14" creationId="{905B2388-0C2A-46AB-8D6F-9067C1682C9E}"/>
          </ac:spMkLst>
        </pc:spChg>
        <pc:spChg chg="mod">
          <ac:chgData name="Richerzhagen, Bjoern (T CED WLN-DE)" userId="1be7a072-4164-461c-b9ed-ae3c5d97c1a8" providerId="ADAL" clId="{A27AFCC7-D8F6-44BC-A001-AAF1884E580A}" dt="2022-03-01T15:44:03.932" v="7749"/>
          <ac:spMkLst>
            <pc:docMk/>
            <pc:sldMk cId="695611138" sldId="288"/>
            <ac:spMk id="15" creationId="{33732CA6-F0CA-4043-88BA-72B58D698655}"/>
          </ac:spMkLst>
        </pc:spChg>
        <pc:spChg chg="mod">
          <ac:chgData name="Richerzhagen, Bjoern (T CED WLN-DE)" userId="1be7a072-4164-461c-b9ed-ae3c5d97c1a8" providerId="ADAL" clId="{A27AFCC7-D8F6-44BC-A001-AAF1884E580A}" dt="2022-03-01T15:44:03.932" v="7749"/>
          <ac:spMkLst>
            <pc:docMk/>
            <pc:sldMk cId="695611138" sldId="288"/>
            <ac:spMk id="18" creationId="{1BD8C657-18C0-4319-BBC7-B2D69962D8C0}"/>
          </ac:spMkLst>
        </pc:spChg>
        <pc:spChg chg="mod">
          <ac:chgData name="Richerzhagen, Bjoern (T CED WLN-DE)" userId="1be7a072-4164-461c-b9ed-ae3c5d97c1a8" providerId="ADAL" clId="{A27AFCC7-D8F6-44BC-A001-AAF1884E580A}" dt="2022-03-01T15:44:03.932" v="7749"/>
          <ac:spMkLst>
            <pc:docMk/>
            <pc:sldMk cId="695611138" sldId="288"/>
            <ac:spMk id="19" creationId="{7F8160EA-3405-4EBE-994E-463AE7872B8F}"/>
          </ac:spMkLst>
        </pc:spChg>
        <pc:spChg chg="mod">
          <ac:chgData name="Richerzhagen, Bjoern (T CED WLN-DE)" userId="1be7a072-4164-461c-b9ed-ae3c5d97c1a8" providerId="ADAL" clId="{A27AFCC7-D8F6-44BC-A001-AAF1884E580A}" dt="2022-03-01T15:44:03.932" v="7749"/>
          <ac:spMkLst>
            <pc:docMk/>
            <pc:sldMk cId="695611138" sldId="288"/>
            <ac:spMk id="25" creationId="{081F21CD-61D9-4EB1-A79C-C5596F0ACDB8}"/>
          </ac:spMkLst>
        </pc:spChg>
        <pc:spChg chg="mod">
          <ac:chgData name="Richerzhagen, Bjoern (T CED WLN-DE)" userId="1be7a072-4164-461c-b9ed-ae3c5d97c1a8" providerId="ADAL" clId="{A27AFCC7-D8F6-44BC-A001-AAF1884E580A}" dt="2022-03-01T15:44:03.932" v="7749"/>
          <ac:spMkLst>
            <pc:docMk/>
            <pc:sldMk cId="695611138" sldId="288"/>
            <ac:spMk id="26" creationId="{B147240D-5874-44F6-BF43-2E7F4E7B13EF}"/>
          </ac:spMkLst>
        </pc:spChg>
        <pc:spChg chg="mod">
          <ac:chgData name="Richerzhagen, Bjoern (T CED WLN-DE)" userId="1be7a072-4164-461c-b9ed-ae3c5d97c1a8" providerId="ADAL" clId="{A27AFCC7-D8F6-44BC-A001-AAF1884E580A}" dt="2022-03-01T15:44:03.932" v="7749"/>
          <ac:spMkLst>
            <pc:docMk/>
            <pc:sldMk cId="695611138" sldId="288"/>
            <ac:spMk id="27" creationId="{A490C290-A3CF-451B-96D9-5522CC9717D0}"/>
          </ac:spMkLst>
        </pc:spChg>
        <pc:spChg chg="mod">
          <ac:chgData name="Richerzhagen, Bjoern (T CED WLN-DE)" userId="1be7a072-4164-461c-b9ed-ae3c5d97c1a8" providerId="ADAL" clId="{A27AFCC7-D8F6-44BC-A001-AAF1884E580A}" dt="2022-03-01T15:44:03.932" v="7749"/>
          <ac:spMkLst>
            <pc:docMk/>
            <pc:sldMk cId="695611138" sldId="288"/>
            <ac:spMk id="28" creationId="{8B923D1B-D581-4147-BE33-983C67F60E57}"/>
          </ac:spMkLst>
        </pc:spChg>
        <pc:spChg chg="add mod modVis">
          <ac:chgData name="Richerzhagen, Bjoern (T CED WLN-DE)" userId="1be7a072-4164-461c-b9ed-ae3c5d97c1a8" providerId="ADAL" clId="{A27AFCC7-D8F6-44BC-A001-AAF1884E580A}" dt="2022-03-08T09:33:24.072" v="30363" actId="14430"/>
          <ac:spMkLst>
            <pc:docMk/>
            <pc:sldMk cId="695611138" sldId="288"/>
            <ac:spMk id="29" creationId="{80C3C213-CF2B-40C2-949A-4CB1A6478ED8}"/>
          </ac:spMkLst>
        </pc:spChg>
        <pc:spChg chg="add del mod">
          <ac:chgData name="Richerzhagen, Bjoern (T CED WLN-DE)" userId="1be7a072-4164-461c-b9ed-ae3c5d97c1a8" providerId="ADAL" clId="{A27AFCC7-D8F6-44BC-A001-AAF1884E580A}" dt="2022-03-02T13:59:29.134" v="14411" actId="478"/>
          <ac:spMkLst>
            <pc:docMk/>
            <pc:sldMk cId="695611138" sldId="288"/>
            <ac:spMk id="30" creationId="{C17F07FA-C77E-4C10-BD7B-4F900C2A3FD2}"/>
          </ac:spMkLst>
        </pc:spChg>
        <pc:spChg chg="add del mod">
          <ac:chgData name="Richerzhagen, Bjoern (T CED WLN-DE)" userId="1be7a072-4164-461c-b9ed-ae3c5d97c1a8" providerId="ADAL" clId="{A27AFCC7-D8F6-44BC-A001-AAF1884E580A}" dt="2022-03-02T13:59:29.134" v="14411" actId="478"/>
          <ac:spMkLst>
            <pc:docMk/>
            <pc:sldMk cId="695611138" sldId="288"/>
            <ac:spMk id="31" creationId="{C57F25DD-7F2F-4397-ABFF-7FCDFA8C088D}"/>
          </ac:spMkLst>
        </pc:spChg>
        <pc:spChg chg="add del mod">
          <ac:chgData name="Richerzhagen, Bjoern (T CED WLN-DE)" userId="1be7a072-4164-461c-b9ed-ae3c5d97c1a8" providerId="ADAL" clId="{A27AFCC7-D8F6-44BC-A001-AAF1884E580A}" dt="2022-03-02T13:59:29.134" v="14411" actId="478"/>
          <ac:spMkLst>
            <pc:docMk/>
            <pc:sldMk cId="695611138" sldId="288"/>
            <ac:spMk id="33" creationId="{543C6272-B7C9-4333-8D3E-B1B0ACCB960A}"/>
          </ac:spMkLst>
        </pc:spChg>
        <pc:spChg chg="add del mod">
          <ac:chgData name="Richerzhagen, Bjoern (T CED WLN-DE)" userId="1be7a072-4164-461c-b9ed-ae3c5d97c1a8" providerId="ADAL" clId="{A27AFCC7-D8F6-44BC-A001-AAF1884E580A}" dt="2022-03-02T13:59:29.134" v="14411" actId="478"/>
          <ac:spMkLst>
            <pc:docMk/>
            <pc:sldMk cId="695611138" sldId="288"/>
            <ac:spMk id="35" creationId="{B7CB5FEB-DB6E-4080-B26A-92D87427EF40}"/>
          </ac:spMkLst>
        </pc:spChg>
        <pc:spChg chg="add del mod">
          <ac:chgData name="Richerzhagen, Bjoern (T CED WLN-DE)" userId="1be7a072-4164-461c-b9ed-ae3c5d97c1a8" providerId="ADAL" clId="{A27AFCC7-D8F6-44BC-A001-AAF1884E580A}" dt="2022-03-02T13:59:29.134" v="14411" actId="478"/>
          <ac:spMkLst>
            <pc:docMk/>
            <pc:sldMk cId="695611138" sldId="288"/>
            <ac:spMk id="37" creationId="{D0847FBF-93E5-488D-84D3-F4760D53AC03}"/>
          </ac:spMkLst>
        </pc:spChg>
        <pc:spChg chg="add del mod">
          <ac:chgData name="Richerzhagen, Bjoern (T CED WLN-DE)" userId="1be7a072-4164-461c-b9ed-ae3c5d97c1a8" providerId="ADAL" clId="{A27AFCC7-D8F6-44BC-A001-AAF1884E580A}" dt="2022-03-02T13:59:29.134" v="14411" actId="478"/>
          <ac:spMkLst>
            <pc:docMk/>
            <pc:sldMk cId="695611138" sldId="288"/>
            <ac:spMk id="39" creationId="{5DA8DD1D-9EB0-4EBF-9BCE-4CA4FBAB17CC}"/>
          </ac:spMkLst>
        </pc:spChg>
        <pc:spChg chg="add del mod">
          <ac:chgData name="Richerzhagen, Bjoern (T CED WLN-DE)" userId="1be7a072-4164-461c-b9ed-ae3c5d97c1a8" providerId="ADAL" clId="{A27AFCC7-D8F6-44BC-A001-AAF1884E580A}" dt="2022-03-02T13:59:29.134" v="14411" actId="478"/>
          <ac:spMkLst>
            <pc:docMk/>
            <pc:sldMk cId="695611138" sldId="288"/>
            <ac:spMk id="40" creationId="{087B35F8-8733-4B83-8CA3-5E44F2CB937B}"/>
          </ac:spMkLst>
        </pc:spChg>
        <pc:spChg chg="add del mod">
          <ac:chgData name="Richerzhagen, Bjoern (T CED WLN-DE)" userId="1be7a072-4164-461c-b9ed-ae3c5d97c1a8" providerId="ADAL" clId="{A27AFCC7-D8F6-44BC-A001-AAF1884E580A}" dt="2022-03-02T14:01:57.854" v="14554" actId="478"/>
          <ac:spMkLst>
            <pc:docMk/>
            <pc:sldMk cId="695611138" sldId="288"/>
            <ac:spMk id="41" creationId="{2C6D11D7-8957-40C6-B94D-28BEE2FA94C7}"/>
          </ac:spMkLst>
        </pc:spChg>
        <pc:spChg chg="add del mod">
          <ac:chgData name="Richerzhagen, Bjoern (T CED WLN-DE)" userId="1be7a072-4164-461c-b9ed-ae3c5d97c1a8" providerId="ADAL" clId="{A27AFCC7-D8F6-44BC-A001-AAF1884E580A}" dt="2022-03-02T14:01:56.380" v="14553" actId="478"/>
          <ac:spMkLst>
            <pc:docMk/>
            <pc:sldMk cId="695611138" sldId="288"/>
            <ac:spMk id="42" creationId="{776A3C5A-4963-4995-8D15-E2BE62753C02}"/>
          </ac:spMkLst>
        </pc:spChg>
        <pc:spChg chg="mod">
          <ac:chgData name="Richerzhagen, Bjoern (T CED WLN-DE)" userId="1be7a072-4164-461c-b9ed-ae3c5d97c1a8" providerId="ADAL" clId="{A27AFCC7-D8F6-44BC-A001-AAF1884E580A}" dt="2022-03-02T13:53:35.415" v="14215"/>
          <ac:spMkLst>
            <pc:docMk/>
            <pc:sldMk cId="695611138" sldId="288"/>
            <ac:spMk id="44" creationId="{637EE1DC-E068-4C93-A8CA-8F7D61F331BC}"/>
          </ac:spMkLst>
        </pc:spChg>
        <pc:spChg chg="add del mod">
          <ac:chgData name="Richerzhagen, Bjoern (T CED WLN-DE)" userId="1be7a072-4164-461c-b9ed-ae3c5d97c1a8" providerId="ADAL" clId="{A27AFCC7-D8F6-44BC-A001-AAF1884E580A}" dt="2022-03-02T14:01:42.016" v="14549" actId="21"/>
          <ac:spMkLst>
            <pc:docMk/>
            <pc:sldMk cId="695611138" sldId="288"/>
            <ac:spMk id="46" creationId="{4520AC1D-A7AF-4E29-9BDC-2E7AC8A0B8AE}"/>
          </ac:spMkLst>
        </pc:spChg>
        <pc:spChg chg="add del mod">
          <ac:chgData name="Richerzhagen, Bjoern (T CED WLN-DE)" userId="1be7a072-4164-461c-b9ed-ae3c5d97c1a8" providerId="ADAL" clId="{A27AFCC7-D8F6-44BC-A001-AAF1884E580A}" dt="2022-03-02T14:01:42.016" v="14549" actId="21"/>
          <ac:spMkLst>
            <pc:docMk/>
            <pc:sldMk cId="695611138" sldId="288"/>
            <ac:spMk id="48" creationId="{A39BDADF-2292-494D-8D2C-74B081654731}"/>
          </ac:spMkLst>
        </pc:spChg>
        <pc:spChg chg="add del mod">
          <ac:chgData name="Richerzhagen, Bjoern (T CED WLN-DE)" userId="1be7a072-4164-461c-b9ed-ae3c5d97c1a8" providerId="ADAL" clId="{A27AFCC7-D8F6-44BC-A001-AAF1884E580A}" dt="2022-03-02T14:01:42.016" v="14549" actId="21"/>
          <ac:spMkLst>
            <pc:docMk/>
            <pc:sldMk cId="695611138" sldId="288"/>
            <ac:spMk id="50" creationId="{F12962B9-D553-4AB2-AB48-F739B43832DE}"/>
          </ac:spMkLst>
        </pc:spChg>
        <pc:spChg chg="add del mod">
          <ac:chgData name="Richerzhagen, Bjoern (T CED WLN-DE)" userId="1be7a072-4164-461c-b9ed-ae3c5d97c1a8" providerId="ADAL" clId="{A27AFCC7-D8F6-44BC-A001-AAF1884E580A}" dt="2022-03-02T14:01:42.016" v="14549" actId="21"/>
          <ac:spMkLst>
            <pc:docMk/>
            <pc:sldMk cId="695611138" sldId="288"/>
            <ac:spMk id="52" creationId="{1D3F29B7-1D2E-44A9-88CE-43247D3284E4}"/>
          </ac:spMkLst>
        </pc:spChg>
        <pc:spChg chg="add mod">
          <ac:chgData name="Richerzhagen, Bjoern (T CED WLN-DE)" userId="1be7a072-4164-461c-b9ed-ae3c5d97c1a8" providerId="ADAL" clId="{A27AFCC7-D8F6-44BC-A001-AAF1884E580A}" dt="2022-03-02T14:06:01.797" v="14831" actId="1076"/>
          <ac:spMkLst>
            <pc:docMk/>
            <pc:sldMk cId="695611138" sldId="288"/>
            <ac:spMk id="56" creationId="{D8AF735A-D280-4978-AC60-17024D39AFE7}"/>
          </ac:spMkLst>
        </pc:spChg>
        <pc:spChg chg="add mod">
          <ac:chgData name="Richerzhagen, Bjoern (T CED WLN-DE)" userId="1be7a072-4164-461c-b9ed-ae3c5d97c1a8" providerId="ADAL" clId="{A27AFCC7-D8F6-44BC-A001-AAF1884E580A}" dt="2022-03-08T10:01:52.869" v="33160" actId="5793"/>
          <ac:spMkLst>
            <pc:docMk/>
            <pc:sldMk cId="695611138" sldId="288"/>
            <ac:spMk id="59" creationId="{FF838738-13A0-4362-B813-9A37D41E2D1F}"/>
          </ac:spMkLst>
        </pc:spChg>
        <pc:grpChg chg="add mod">
          <ac:chgData name="Richerzhagen, Bjoern (T CED WLN-DE)" userId="1be7a072-4164-461c-b9ed-ae3c5d97c1a8" providerId="ADAL" clId="{A27AFCC7-D8F6-44BC-A001-AAF1884E580A}" dt="2022-03-02T07:24:51.043" v="10284" actId="1036"/>
          <ac:grpSpMkLst>
            <pc:docMk/>
            <pc:sldMk cId="695611138" sldId="288"/>
            <ac:grpSpMk id="13" creationId="{59DBF396-29D5-4B8A-8F6A-F9D13C4D694E}"/>
          </ac:grpSpMkLst>
        </pc:grpChg>
        <pc:grpChg chg="add mod">
          <ac:chgData name="Richerzhagen, Bjoern (T CED WLN-DE)" userId="1be7a072-4164-461c-b9ed-ae3c5d97c1a8" providerId="ADAL" clId="{A27AFCC7-D8F6-44BC-A001-AAF1884E580A}" dt="2022-03-02T07:24:51.043" v="10284" actId="1036"/>
          <ac:grpSpMkLst>
            <pc:docMk/>
            <pc:sldMk cId="695611138" sldId="288"/>
            <ac:grpSpMk id="20" creationId="{E2DD2B49-7B84-4788-86B0-60C3C4C8D639}"/>
          </ac:grpSpMkLst>
        </pc:grpChg>
        <pc:grpChg chg="add del mod">
          <ac:chgData name="Richerzhagen, Bjoern (T CED WLN-DE)" userId="1be7a072-4164-461c-b9ed-ae3c5d97c1a8" providerId="ADAL" clId="{A27AFCC7-D8F6-44BC-A001-AAF1884E580A}" dt="2022-03-02T13:53:39.004" v="14216" actId="478"/>
          <ac:grpSpMkLst>
            <pc:docMk/>
            <pc:sldMk cId="695611138" sldId="288"/>
            <ac:grpSpMk id="43" creationId="{F4EBB963-F002-4407-859B-334D85FB0FF0}"/>
          </ac:grpSpMkLst>
        </pc:grpChg>
        <pc:picChg chg="del">
          <ac:chgData name="Richerzhagen, Bjoern (T CED WLN-DE)" userId="1be7a072-4164-461c-b9ed-ae3c5d97c1a8" providerId="ADAL" clId="{A27AFCC7-D8F6-44BC-A001-AAF1884E580A}" dt="2022-02-25T07:52:26.936" v="3241" actId="478"/>
          <ac:picMkLst>
            <pc:docMk/>
            <pc:sldMk cId="695611138" sldId="288"/>
            <ac:picMk id="29" creationId="{F73276CE-B2A8-473C-8CE2-F532C1DD282C}"/>
          </ac:picMkLst>
        </pc:picChg>
        <pc:picChg chg="add del mod">
          <ac:chgData name="Richerzhagen, Bjoern (T CED WLN-DE)" userId="1be7a072-4164-461c-b9ed-ae3c5d97c1a8" providerId="ADAL" clId="{A27AFCC7-D8F6-44BC-A001-AAF1884E580A}" dt="2022-03-02T13:59:29.134" v="14411" actId="478"/>
          <ac:picMkLst>
            <pc:docMk/>
            <pc:sldMk cId="695611138" sldId="288"/>
            <ac:picMk id="32" creationId="{E2D99ECC-DBD6-4F3E-9E91-FE074A887E3F}"/>
          </ac:picMkLst>
        </pc:picChg>
        <pc:picChg chg="add del mod">
          <ac:chgData name="Richerzhagen, Bjoern (T CED WLN-DE)" userId="1be7a072-4164-461c-b9ed-ae3c5d97c1a8" providerId="ADAL" clId="{A27AFCC7-D8F6-44BC-A001-AAF1884E580A}" dt="2022-03-02T13:59:29.134" v="14411" actId="478"/>
          <ac:picMkLst>
            <pc:docMk/>
            <pc:sldMk cId="695611138" sldId="288"/>
            <ac:picMk id="34" creationId="{64CCA226-8BC7-45AB-A7C0-359D362B12C6}"/>
          </ac:picMkLst>
        </pc:picChg>
        <pc:picChg chg="add del mod">
          <ac:chgData name="Richerzhagen, Bjoern (T CED WLN-DE)" userId="1be7a072-4164-461c-b9ed-ae3c5d97c1a8" providerId="ADAL" clId="{A27AFCC7-D8F6-44BC-A001-AAF1884E580A}" dt="2022-03-02T13:59:29.134" v="14411" actId="478"/>
          <ac:picMkLst>
            <pc:docMk/>
            <pc:sldMk cId="695611138" sldId="288"/>
            <ac:picMk id="36" creationId="{A593625B-E2B6-4D94-8845-9C1AAA1052FE}"/>
          </ac:picMkLst>
        </pc:picChg>
        <pc:picChg chg="add del mod">
          <ac:chgData name="Richerzhagen, Bjoern (T CED WLN-DE)" userId="1be7a072-4164-461c-b9ed-ae3c5d97c1a8" providerId="ADAL" clId="{A27AFCC7-D8F6-44BC-A001-AAF1884E580A}" dt="2022-03-02T13:59:29.134" v="14411" actId="478"/>
          <ac:picMkLst>
            <pc:docMk/>
            <pc:sldMk cId="695611138" sldId="288"/>
            <ac:picMk id="38" creationId="{1ED90986-E050-4E84-806B-6B0B6328FC85}"/>
          </ac:picMkLst>
        </pc:picChg>
        <pc:picChg chg="mod">
          <ac:chgData name="Richerzhagen, Bjoern (T CED WLN-DE)" userId="1be7a072-4164-461c-b9ed-ae3c5d97c1a8" providerId="ADAL" clId="{A27AFCC7-D8F6-44BC-A001-AAF1884E580A}" dt="2022-03-02T13:53:35.415" v="14215"/>
          <ac:picMkLst>
            <pc:docMk/>
            <pc:sldMk cId="695611138" sldId="288"/>
            <ac:picMk id="45" creationId="{5DCAF2FB-B027-4C8A-A649-697A22DFFA0B}"/>
          </ac:picMkLst>
        </pc:picChg>
        <pc:picChg chg="add del mod">
          <ac:chgData name="Richerzhagen, Bjoern (T CED WLN-DE)" userId="1be7a072-4164-461c-b9ed-ae3c5d97c1a8" providerId="ADAL" clId="{A27AFCC7-D8F6-44BC-A001-AAF1884E580A}" dt="2022-03-02T14:01:42.016" v="14549" actId="21"/>
          <ac:picMkLst>
            <pc:docMk/>
            <pc:sldMk cId="695611138" sldId="288"/>
            <ac:picMk id="47" creationId="{F96E9228-3DC4-4170-98D7-D853227B0197}"/>
          </ac:picMkLst>
        </pc:picChg>
        <pc:picChg chg="add del mod">
          <ac:chgData name="Richerzhagen, Bjoern (T CED WLN-DE)" userId="1be7a072-4164-461c-b9ed-ae3c5d97c1a8" providerId="ADAL" clId="{A27AFCC7-D8F6-44BC-A001-AAF1884E580A}" dt="2022-03-02T14:01:42.016" v="14549" actId="21"/>
          <ac:picMkLst>
            <pc:docMk/>
            <pc:sldMk cId="695611138" sldId="288"/>
            <ac:picMk id="49" creationId="{D7E047CF-1B58-40BE-9337-6D0359EEAC2C}"/>
          </ac:picMkLst>
        </pc:picChg>
        <pc:picChg chg="add del mod">
          <ac:chgData name="Richerzhagen, Bjoern (T CED WLN-DE)" userId="1be7a072-4164-461c-b9ed-ae3c5d97c1a8" providerId="ADAL" clId="{A27AFCC7-D8F6-44BC-A001-AAF1884E580A}" dt="2022-03-02T14:01:42.016" v="14549" actId="21"/>
          <ac:picMkLst>
            <pc:docMk/>
            <pc:sldMk cId="695611138" sldId="288"/>
            <ac:picMk id="51" creationId="{1EB1DBED-DC28-4CD8-9469-37BC82EFDE8B}"/>
          </ac:picMkLst>
        </pc:picChg>
        <pc:picChg chg="add del mod">
          <ac:chgData name="Richerzhagen, Bjoern (T CED WLN-DE)" userId="1be7a072-4164-461c-b9ed-ae3c5d97c1a8" providerId="ADAL" clId="{A27AFCC7-D8F6-44BC-A001-AAF1884E580A}" dt="2022-03-02T14:01:42.016" v="14549" actId="21"/>
          <ac:picMkLst>
            <pc:docMk/>
            <pc:sldMk cId="695611138" sldId="288"/>
            <ac:picMk id="53" creationId="{111FCC1E-D0F3-4F93-B82D-85C464E3EABB}"/>
          </ac:picMkLst>
        </pc:picChg>
        <pc:picChg chg="add mod">
          <ac:chgData name="Richerzhagen, Bjoern (T CED WLN-DE)" userId="1be7a072-4164-461c-b9ed-ae3c5d97c1a8" providerId="ADAL" clId="{A27AFCC7-D8F6-44BC-A001-AAF1884E580A}" dt="2022-03-02T14:07:27.807" v="14861" actId="14100"/>
          <ac:picMkLst>
            <pc:docMk/>
            <pc:sldMk cId="695611138" sldId="288"/>
            <ac:picMk id="54" creationId="{BB00C964-8779-4AAB-BCDB-A3D98142872A}"/>
          </ac:picMkLst>
        </pc:picChg>
        <pc:picChg chg="add mod">
          <ac:chgData name="Richerzhagen, Bjoern (T CED WLN-DE)" userId="1be7a072-4164-461c-b9ed-ae3c5d97c1a8" providerId="ADAL" clId="{A27AFCC7-D8F6-44BC-A001-AAF1884E580A}" dt="2022-03-02T14:07:09.606" v="14860" actId="14100"/>
          <ac:picMkLst>
            <pc:docMk/>
            <pc:sldMk cId="695611138" sldId="288"/>
            <ac:picMk id="55" creationId="{B6AE4266-1041-48A3-9A47-A5A1C4693EB7}"/>
          </ac:picMkLst>
        </pc:picChg>
        <pc:picChg chg="add mod">
          <ac:chgData name="Richerzhagen, Bjoern (T CED WLN-DE)" userId="1be7a072-4164-461c-b9ed-ae3c5d97c1a8" providerId="ADAL" clId="{A27AFCC7-D8F6-44BC-A001-AAF1884E580A}" dt="2022-03-02T14:07:52.561" v="14877" actId="1076"/>
          <ac:picMkLst>
            <pc:docMk/>
            <pc:sldMk cId="695611138" sldId="288"/>
            <ac:picMk id="58" creationId="{141DA677-C93B-4485-9B2B-051C1D969F94}"/>
          </ac:picMkLst>
        </pc:picChg>
        <pc:cxnChg chg="add del mod">
          <ac:chgData name="Richerzhagen, Bjoern (T CED WLN-DE)" userId="1be7a072-4164-461c-b9ed-ae3c5d97c1a8" providerId="ADAL" clId="{A27AFCC7-D8F6-44BC-A001-AAF1884E580A}" dt="2022-03-02T13:59:29.134" v="14411" actId="478"/>
          <ac:cxnSpMkLst>
            <pc:docMk/>
            <pc:sldMk cId="695611138" sldId="288"/>
            <ac:cxnSpMk id="8" creationId="{FB023C42-773B-47AE-9048-238C596B4977}"/>
          </ac:cxnSpMkLst>
        </pc:cxnChg>
      </pc:sldChg>
      <pc:sldChg chg="addSp delSp modSp add mod ord modShow chgLayout modNotes">
        <pc:chgData name="Richerzhagen, Bjoern (T CED WLN-DE)" userId="1be7a072-4164-461c-b9ed-ae3c5d97c1a8" providerId="ADAL" clId="{A27AFCC7-D8F6-44BC-A001-AAF1884E580A}" dt="2022-03-02T14:09:45.871" v="15109"/>
        <pc:sldMkLst>
          <pc:docMk/>
          <pc:sldMk cId="1094006908" sldId="289"/>
        </pc:sldMkLst>
        <pc:spChg chg="mod ord">
          <ac:chgData name="Richerzhagen, Bjoern (T CED WLN-DE)" userId="1be7a072-4164-461c-b9ed-ae3c5d97c1a8" providerId="ADAL" clId="{A27AFCC7-D8F6-44BC-A001-AAF1884E580A}" dt="2022-02-28T13:40:41.540" v="4210" actId="700"/>
          <ac:spMkLst>
            <pc:docMk/>
            <pc:sldMk cId="1094006908" sldId="289"/>
            <ac:spMk id="4" creationId="{EDA2E8E9-22AB-4AD1-9C82-3D348D05D62E}"/>
          </ac:spMkLst>
        </pc:spChg>
        <pc:spChg chg="mod ord">
          <ac:chgData name="Richerzhagen, Bjoern (T CED WLN-DE)" userId="1be7a072-4164-461c-b9ed-ae3c5d97c1a8" providerId="ADAL" clId="{A27AFCC7-D8F6-44BC-A001-AAF1884E580A}" dt="2022-03-01T16:40:38.247" v="9465" actId="14100"/>
          <ac:spMkLst>
            <pc:docMk/>
            <pc:sldMk cId="1094006908" sldId="289"/>
            <ac:spMk id="5" creationId="{30333122-4CB5-44EF-BDCB-FE8BCF4A1840}"/>
          </ac:spMkLst>
        </pc:spChg>
        <pc:spChg chg="mod">
          <ac:chgData name="Richerzhagen, Bjoern (T CED WLN-DE)" userId="1be7a072-4164-461c-b9ed-ae3c5d97c1a8" providerId="ADAL" clId="{A27AFCC7-D8F6-44BC-A001-AAF1884E580A}" dt="2022-02-28T13:40:43.672" v="4211" actId="207"/>
          <ac:spMkLst>
            <pc:docMk/>
            <pc:sldMk cId="1094006908" sldId="289"/>
            <ac:spMk id="9" creationId="{936F1348-EE86-4B87-9391-642A20E01B4E}"/>
          </ac:spMkLst>
        </pc:spChg>
        <pc:spChg chg="add mod">
          <ac:chgData name="Richerzhagen, Bjoern (T CED WLN-DE)" userId="1be7a072-4164-461c-b9ed-ae3c5d97c1a8" providerId="ADAL" clId="{A27AFCC7-D8F6-44BC-A001-AAF1884E580A}" dt="2022-03-02T08:27:21.019" v="11812" actId="20577"/>
          <ac:spMkLst>
            <pc:docMk/>
            <pc:sldMk cId="1094006908" sldId="289"/>
            <ac:spMk id="12" creationId="{42AFF9A9-C9B7-4C4A-A2CC-5EB8F52CC117}"/>
          </ac:spMkLst>
        </pc:spChg>
        <pc:spChg chg="mod">
          <ac:chgData name="Richerzhagen, Bjoern (T CED WLN-DE)" userId="1be7a072-4164-461c-b9ed-ae3c5d97c1a8" providerId="ADAL" clId="{A27AFCC7-D8F6-44BC-A001-AAF1884E580A}" dt="2022-03-01T15:44:46.767" v="7768" actId="14100"/>
          <ac:spMkLst>
            <pc:docMk/>
            <pc:sldMk cId="1094006908" sldId="289"/>
            <ac:spMk id="14" creationId="{09837290-8453-476F-96E0-1367FCBEA400}"/>
          </ac:spMkLst>
        </pc:spChg>
        <pc:spChg chg="mod">
          <ac:chgData name="Richerzhagen, Bjoern (T CED WLN-DE)" userId="1be7a072-4164-461c-b9ed-ae3c5d97c1a8" providerId="ADAL" clId="{A27AFCC7-D8F6-44BC-A001-AAF1884E580A}" dt="2022-03-01T15:44:56.264" v="7774" actId="1076"/>
          <ac:spMkLst>
            <pc:docMk/>
            <pc:sldMk cId="1094006908" sldId="289"/>
            <ac:spMk id="15" creationId="{4AEC2682-F4F4-4DB4-B6B8-AF8463357406}"/>
          </ac:spMkLst>
        </pc:spChg>
        <pc:spChg chg="mod">
          <ac:chgData name="Richerzhagen, Bjoern (T CED WLN-DE)" userId="1be7a072-4164-461c-b9ed-ae3c5d97c1a8" providerId="ADAL" clId="{A27AFCC7-D8F6-44BC-A001-AAF1884E580A}" dt="2022-03-01T15:44:56.264" v="7774" actId="1076"/>
          <ac:spMkLst>
            <pc:docMk/>
            <pc:sldMk cId="1094006908" sldId="289"/>
            <ac:spMk id="18" creationId="{6BB2841B-EE12-4267-827E-B05FBF24E742}"/>
          </ac:spMkLst>
        </pc:spChg>
        <pc:spChg chg="mod">
          <ac:chgData name="Richerzhagen, Bjoern (T CED WLN-DE)" userId="1be7a072-4164-461c-b9ed-ae3c5d97c1a8" providerId="ADAL" clId="{A27AFCC7-D8F6-44BC-A001-AAF1884E580A}" dt="2022-03-01T15:44:49.529" v="7773" actId="1037"/>
          <ac:spMkLst>
            <pc:docMk/>
            <pc:sldMk cId="1094006908" sldId="289"/>
            <ac:spMk id="19" creationId="{CBDC8837-181D-42F2-BDCB-66881581EEFF}"/>
          </ac:spMkLst>
        </pc:spChg>
        <pc:spChg chg="mod">
          <ac:chgData name="Richerzhagen, Bjoern (T CED WLN-DE)" userId="1be7a072-4164-461c-b9ed-ae3c5d97c1a8" providerId="ADAL" clId="{A27AFCC7-D8F6-44BC-A001-AAF1884E580A}" dt="2022-03-01T15:44:15.961" v="7751"/>
          <ac:spMkLst>
            <pc:docMk/>
            <pc:sldMk cId="1094006908" sldId="289"/>
            <ac:spMk id="25" creationId="{45614EFB-D9CD-419D-A7F3-BAB56D06F66A}"/>
          </ac:spMkLst>
        </pc:spChg>
        <pc:spChg chg="mod">
          <ac:chgData name="Richerzhagen, Bjoern (T CED WLN-DE)" userId="1be7a072-4164-461c-b9ed-ae3c5d97c1a8" providerId="ADAL" clId="{A27AFCC7-D8F6-44BC-A001-AAF1884E580A}" dt="2022-03-01T15:44:15.961" v="7751"/>
          <ac:spMkLst>
            <pc:docMk/>
            <pc:sldMk cId="1094006908" sldId="289"/>
            <ac:spMk id="26" creationId="{31E8334F-B5D9-4B5E-998B-3D08213A328B}"/>
          </ac:spMkLst>
        </pc:spChg>
        <pc:spChg chg="mod">
          <ac:chgData name="Richerzhagen, Bjoern (T CED WLN-DE)" userId="1be7a072-4164-461c-b9ed-ae3c5d97c1a8" providerId="ADAL" clId="{A27AFCC7-D8F6-44BC-A001-AAF1884E580A}" dt="2022-03-01T15:44:15.961" v="7751"/>
          <ac:spMkLst>
            <pc:docMk/>
            <pc:sldMk cId="1094006908" sldId="289"/>
            <ac:spMk id="27" creationId="{C8C422A9-5F87-42E0-BB16-F1A5AAD7DFCE}"/>
          </ac:spMkLst>
        </pc:spChg>
        <pc:spChg chg="mod">
          <ac:chgData name="Richerzhagen, Bjoern (T CED WLN-DE)" userId="1be7a072-4164-461c-b9ed-ae3c5d97c1a8" providerId="ADAL" clId="{A27AFCC7-D8F6-44BC-A001-AAF1884E580A}" dt="2022-03-01T15:44:15.961" v="7751"/>
          <ac:spMkLst>
            <pc:docMk/>
            <pc:sldMk cId="1094006908" sldId="289"/>
            <ac:spMk id="28" creationId="{BE578A87-B4E6-4BE6-A8E7-D1D3EBFFD559}"/>
          </ac:spMkLst>
        </pc:spChg>
        <pc:spChg chg="mod">
          <ac:chgData name="Richerzhagen, Bjoern (T CED WLN-DE)" userId="1be7a072-4164-461c-b9ed-ae3c5d97c1a8" providerId="ADAL" clId="{A27AFCC7-D8F6-44BC-A001-AAF1884E580A}" dt="2022-03-02T13:14:31.506" v="13307"/>
          <ac:spMkLst>
            <pc:docMk/>
            <pc:sldMk cId="1094006908" sldId="289"/>
            <ac:spMk id="30" creationId="{F4FFB428-7C16-426D-B7DD-2BBA0B01F776}"/>
          </ac:spMkLst>
        </pc:spChg>
        <pc:spChg chg="mod">
          <ac:chgData name="Richerzhagen, Bjoern (T CED WLN-DE)" userId="1be7a072-4164-461c-b9ed-ae3c5d97c1a8" providerId="ADAL" clId="{A27AFCC7-D8F6-44BC-A001-AAF1884E580A}" dt="2022-03-02T13:14:31.506" v="13307"/>
          <ac:spMkLst>
            <pc:docMk/>
            <pc:sldMk cId="1094006908" sldId="289"/>
            <ac:spMk id="31" creationId="{91A0F2F2-03C4-4650-A77E-381CF25F7B4C}"/>
          </ac:spMkLst>
        </pc:spChg>
        <pc:spChg chg="mod">
          <ac:chgData name="Richerzhagen, Bjoern (T CED WLN-DE)" userId="1be7a072-4164-461c-b9ed-ae3c5d97c1a8" providerId="ADAL" clId="{A27AFCC7-D8F6-44BC-A001-AAF1884E580A}" dt="2022-03-02T13:14:31.506" v="13307"/>
          <ac:spMkLst>
            <pc:docMk/>
            <pc:sldMk cId="1094006908" sldId="289"/>
            <ac:spMk id="32" creationId="{9125725A-8781-4307-A3A6-85885EE92821}"/>
          </ac:spMkLst>
        </pc:spChg>
        <pc:spChg chg="mod">
          <ac:chgData name="Richerzhagen, Bjoern (T CED WLN-DE)" userId="1be7a072-4164-461c-b9ed-ae3c5d97c1a8" providerId="ADAL" clId="{A27AFCC7-D8F6-44BC-A001-AAF1884E580A}" dt="2022-03-02T13:14:31.506" v="13307"/>
          <ac:spMkLst>
            <pc:docMk/>
            <pc:sldMk cId="1094006908" sldId="289"/>
            <ac:spMk id="33" creationId="{5F174073-31CF-4FF0-9A5A-3E27D5007516}"/>
          </ac:spMkLst>
        </pc:spChg>
        <pc:grpChg chg="add mod">
          <ac:chgData name="Richerzhagen, Bjoern (T CED WLN-DE)" userId="1be7a072-4164-461c-b9ed-ae3c5d97c1a8" providerId="ADAL" clId="{A27AFCC7-D8F6-44BC-A001-AAF1884E580A}" dt="2022-03-02T13:14:47.390" v="13321" actId="1036"/>
          <ac:grpSpMkLst>
            <pc:docMk/>
            <pc:sldMk cId="1094006908" sldId="289"/>
            <ac:grpSpMk id="13" creationId="{F1A95932-261F-4C0D-86AA-C306B5ED369B}"/>
          </ac:grpSpMkLst>
        </pc:grpChg>
        <pc:grpChg chg="add mod">
          <ac:chgData name="Richerzhagen, Bjoern (T CED WLN-DE)" userId="1be7a072-4164-461c-b9ed-ae3c5d97c1a8" providerId="ADAL" clId="{A27AFCC7-D8F6-44BC-A001-AAF1884E580A}" dt="2022-03-02T13:14:47.390" v="13321" actId="1036"/>
          <ac:grpSpMkLst>
            <pc:docMk/>
            <pc:sldMk cId="1094006908" sldId="289"/>
            <ac:grpSpMk id="20" creationId="{08CD9861-B6FF-4A98-9099-FF48A017BDCA}"/>
          </ac:grpSpMkLst>
        </pc:grpChg>
        <pc:grpChg chg="add mod">
          <ac:chgData name="Richerzhagen, Bjoern (T CED WLN-DE)" userId="1be7a072-4164-461c-b9ed-ae3c5d97c1a8" providerId="ADAL" clId="{A27AFCC7-D8F6-44BC-A001-AAF1884E580A}" dt="2022-03-02T13:14:43.691" v="13310" actId="1076"/>
          <ac:grpSpMkLst>
            <pc:docMk/>
            <pc:sldMk cId="1094006908" sldId="289"/>
            <ac:grpSpMk id="29" creationId="{C15EC445-99EF-4B88-ACE7-8FFFBB31D3A5}"/>
          </ac:grpSpMkLst>
        </pc:grpChg>
        <pc:picChg chg="del">
          <ac:chgData name="Richerzhagen, Bjoern (T CED WLN-DE)" userId="1be7a072-4164-461c-b9ed-ae3c5d97c1a8" providerId="ADAL" clId="{A27AFCC7-D8F6-44BC-A001-AAF1884E580A}" dt="2022-02-25T07:53:15.888" v="3380" actId="478"/>
          <ac:picMkLst>
            <pc:docMk/>
            <pc:sldMk cId="1094006908" sldId="289"/>
            <ac:picMk id="29" creationId="{F73276CE-B2A8-473C-8CE2-F532C1DD282C}"/>
          </ac:picMkLst>
        </pc:picChg>
      </pc:sldChg>
      <pc:sldChg chg="add del">
        <pc:chgData name="Richerzhagen, Bjoern (T CED WLN-DE)" userId="1be7a072-4164-461c-b9ed-ae3c5d97c1a8" providerId="ADAL" clId="{A27AFCC7-D8F6-44BC-A001-AAF1884E580A}" dt="2022-03-01T15:04:37.581" v="6558" actId="47"/>
        <pc:sldMkLst>
          <pc:docMk/>
          <pc:sldMk cId="3906448851" sldId="141168949"/>
        </pc:sldMkLst>
      </pc:sldChg>
      <pc:sldChg chg="modSp add mod modShow modNotes">
        <pc:chgData name="Richerzhagen, Bjoern (T CED WLN-DE)" userId="1be7a072-4164-461c-b9ed-ae3c5d97c1a8" providerId="ADAL" clId="{A27AFCC7-D8F6-44BC-A001-AAF1884E580A}" dt="2022-03-02T14:37:35.843" v="16114" actId="729"/>
        <pc:sldMkLst>
          <pc:docMk/>
          <pc:sldMk cId="1492647571" sldId="2147373977"/>
        </pc:sldMkLst>
        <pc:spChg chg="mod">
          <ac:chgData name="Richerzhagen, Bjoern (T CED WLN-DE)" userId="1be7a072-4164-461c-b9ed-ae3c5d97c1a8" providerId="ADAL" clId="{A27AFCC7-D8F6-44BC-A001-AAF1884E580A}" dt="2022-03-02T12:56:14.993" v="12796" actId="790"/>
          <ac:spMkLst>
            <pc:docMk/>
            <pc:sldMk cId="1492647571" sldId="2147373977"/>
            <ac:spMk id="2" creationId="{EAD70CB9-27F0-4A5C-A35F-15E4594EB0F1}"/>
          </ac:spMkLst>
        </pc:spChg>
      </pc:sldChg>
      <pc:sldChg chg="addSp delSp modSp add mod ord modShow modNotes modNotesTx">
        <pc:chgData name="Richerzhagen, Bjoern (T CED WLN-DE)" userId="1be7a072-4164-461c-b9ed-ae3c5d97c1a8" providerId="ADAL" clId="{A27AFCC7-D8F6-44BC-A001-AAF1884E580A}" dt="2022-03-08T12:14:39.883" v="38787" actId="20578"/>
        <pc:sldMkLst>
          <pc:docMk/>
          <pc:sldMk cId="3477616018" sldId="2147373983"/>
        </pc:sldMkLst>
        <pc:spChg chg="add mod ord">
          <ac:chgData name="Richerzhagen, Bjoern (T CED WLN-DE)" userId="1be7a072-4164-461c-b9ed-ae3c5d97c1a8" providerId="ADAL" clId="{A27AFCC7-D8F6-44BC-A001-AAF1884E580A}" dt="2022-02-28T10:14:42.706" v="3740" actId="14100"/>
          <ac:spMkLst>
            <pc:docMk/>
            <pc:sldMk cId="3477616018" sldId="2147373983"/>
            <ac:spMk id="2" creationId="{AFDF1398-29EA-494C-8DB8-51AA36D05524}"/>
          </ac:spMkLst>
        </pc:spChg>
        <pc:spChg chg="mod">
          <ac:chgData name="Richerzhagen, Bjoern (T CED WLN-DE)" userId="1be7a072-4164-461c-b9ed-ae3c5d97c1a8" providerId="ADAL" clId="{A27AFCC7-D8F6-44BC-A001-AAF1884E580A}" dt="2022-02-28T10:48:41.517" v="4192" actId="207"/>
          <ac:spMkLst>
            <pc:docMk/>
            <pc:sldMk cId="3477616018" sldId="2147373983"/>
            <ac:spMk id="86" creationId="{8F098979-152E-4CCF-88FC-122FFE6E8ABA}"/>
          </ac:spMkLst>
        </pc:spChg>
        <pc:spChg chg="add del mod">
          <ac:chgData name="Richerzhagen, Bjoern (T CED WLN-DE)" userId="1be7a072-4164-461c-b9ed-ae3c5d97c1a8" providerId="ADAL" clId="{A27AFCC7-D8F6-44BC-A001-AAF1884E580A}" dt="2022-02-28T10:13:47.866" v="3730" actId="478"/>
          <ac:spMkLst>
            <pc:docMk/>
            <pc:sldMk cId="3477616018" sldId="2147373983"/>
            <ac:spMk id="88" creationId="{CF9F6A48-1FD8-4425-88B9-17B63EFD98D8}"/>
          </ac:spMkLst>
        </pc:spChg>
        <pc:spChg chg="add mod ord">
          <ac:chgData name="Richerzhagen, Bjoern (T CED WLN-DE)" userId="1be7a072-4164-461c-b9ed-ae3c5d97c1a8" providerId="ADAL" clId="{A27AFCC7-D8F6-44BC-A001-AAF1884E580A}" dt="2022-02-28T10:18:08.070" v="3776" actId="14100"/>
          <ac:spMkLst>
            <pc:docMk/>
            <pc:sldMk cId="3477616018" sldId="2147373983"/>
            <ac:spMk id="89" creationId="{E1CBE6F8-EB0C-411E-A5AB-843ECA0A465B}"/>
          </ac:spMkLst>
        </pc:spChg>
        <pc:spChg chg="add mod ord">
          <ac:chgData name="Richerzhagen, Bjoern (T CED WLN-DE)" userId="1be7a072-4164-461c-b9ed-ae3c5d97c1a8" providerId="ADAL" clId="{A27AFCC7-D8F6-44BC-A001-AAF1884E580A}" dt="2022-02-28T10:17:57.603" v="3775" actId="207"/>
          <ac:spMkLst>
            <pc:docMk/>
            <pc:sldMk cId="3477616018" sldId="2147373983"/>
            <ac:spMk id="90" creationId="{74497513-3DF2-48C2-AF95-F85EC31491BB}"/>
          </ac:spMkLst>
        </pc:spChg>
        <pc:spChg chg="mod">
          <ac:chgData name="Richerzhagen, Bjoern (T CED WLN-DE)" userId="1be7a072-4164-461c-b9ed-ae3c5d97c1a8" providerId="ADAL" clId="{A27AFCC7-D8F6-44BC-A001-AAF1884E580A}" dt="2022-02-28T10:15:14.069" v="3743" actId="2711"/>
          <ac:spMkLst>
            <pc:docMk/>
            <pc:sldMk cId="3477616018" sldId="2147373983"/>
            <ac:spMk id="102" creationId="{CA870548-D15B-4494-85EA-314D3F4E574E}"/>
          </ac:spMkLst>
        </pc:spChg>
        <pc:spChg chg="mod">
          <ac:chgData name="Richerzhagen, Bjoern (T CED WLN-DE)" userId="1be7a072-4164-461c-b9ed-ae3c5d97c1a8" providerId="ADAL" clId="{A27AFCC7-D8F6-44BC-A001-AAF1884E580A}" dt="2022-02-28T10:15:14.069" v="3743" actId="2711"/>
          <ac:spMkLst>
            <pc:docMk/>
            <pc:sldMk cId="3477616018" sldId="2147373983"/>
            <ac:spMk id="103" creationId="{21B80E69-F751-4D45-AB1D-E718FF02EBC6}"/>
          </ac:spMkLst>
        </pc:spChg>
        <pc:spChg chg="mod">
          <ac:chgData name="Richerzhagen, Bjoern (T CED WLN-DE)" userId="1be7a072-4164-461c-b9ed-ae3c5d97c1a8" providerId="ADAL" clId="{A27AFCC7-D8F6-44BC-A001-AAF1884E580A}" dt="2022-02-28T10:15:14.069" v="3743" actId="2711"/>
          <ac:spMkLst>
            <pc:docMk/>
            <pc:sldMk cId="3477616018" sldId="2147373983"/>
            <ac:spMk id="104" creationId="{517177D2-0E84-4E5E-8BD2-3992B89C2488}"/>
          </ac:spMkLst>
        </pc:spChg>
        <pc:spChg chg="mod">
          <ac:chgData name="Richerzhagen, Bjoern (T CED WLN-DE)" userId="1be7a072-4164-461c-b9ed-ae3c5d97c1a8" providerId="ADAL" clId="{A27AFCC7-D8F6-44BC-A001-AAF1884E580A}" dt="2022-02-28T10:16:16.091" v="3757" actId="404"/>
          <ac:spMkLst>
            <pc:docMk/>
            <pc:sldMk cId="3477616018" sldId="2147373983"/>
            <ac:spMk id="113" creationId="{6697B758-1E54-4F12-9395-10BD7B88CB38}"/>
          </ac:spMkLst>
        </pc:spChg>
        <pc:spChg chg="mod">
          <ac:chgData name="Richerzhagen, Bjoern (T CED WLN-DE)" userId="1be7a072-4164-461c-b9ed-ae3c5d97c1a8" providerId="ADAL" clId="{A27AFCC7-D8F6-44BC-A001-AAF1884E580A}" dt="2022-03-02T12:56:14.886" v="12762" actId="790"/>
          <ac:spMkLst>
            <pc:docMk/>
            <pc:sldMk cId="3477616018" sldId="2147373983"/>
            <ac:spMk id="115" creationId="{EEF4FF49-1FE2-43FE-8919-694137AB0F8A}"/>
          </ac:spMkLst>
        </pc:spChg>
        <pc:spChg chg="mod">
          <ac:chgData name="Richerzhagen, Bjoern (T CED WLN-DE)" userId="1be7a072-4164-461c-b9ed-ae3c5d97c1a8" providerId="ADAL" clId="{A27AFCC7-D8F6-44BC-A001-AAF1884E580A}" dt="2022-02-28T10:16:29.057" v="3760" actId="1076"/>
          <ac:spMkLst>
            <pc:docMk/>
            <pc:sldMk cId="3477616018" sldId="2147373983"/>
            <ac:spMk id="117" creationId="{D99D6F05-9A75-4399-A9D8-A2D88F21049B}"/>
          </ac:spMkLst>
        </pc:spChg>
        <pc:spChg chg="mod">
          <ac:chgData name="Richerzhagen, Bjoern (T CED WLN-DE)" userId="1be7a072-4164-461c-b9ed-ae3c5d97c1a8" providerId="ADAL" clId="{A27AFCC7-D8F6-44BC-A001-AAF1884E580A}" dt="2022-02-28T10:16:42.184" v="3762" actId="14100"/>
          <ac:spMkLst>
            <pc:docMk/>
            <pc:sldMk cId="3477616018" sldId="2147373983"/>
            <ac:spMk id="125" creationId="{7E508746-29B5-4E0D-BD4C-4BF9B199C113}"/>
          </ac:spMkLst>
        </pc:spChg>
        <pc:spChg chg="mod">
          <ac:chgData name="Richerzhagen, Bjoern (T CED WLN-DE)" userId="1be7a072-4164-461c-b9ed-ae3c5d97c1a8" providerId="ADAL" clId="{A27AFCC7-D8F6-44BC-A001-AAF1884E580A}" dt="2022-02-28T10:16:20.083" v="3758" actId="404"/>
          <ac:spMkLst>
            <pc:docMk/>
            <pc:sldMk cId="3477616018" sldId="2147373983"/>
            <ac:spMk id="135" creationId="{B4566214-BB6B-4407-9452-D215F97E7014}"/>
          </ac:spMkLst>
        </pc:spChg>
        <pc:spChg chg="mod">
          <ac:chgData name="Richerzhagen, Bjoern (T CED WLN-DE)" userId="1be7a072-4164-461c-b9ed-ae3c5d97c1a8" providerId="ADAL" clId="{A27AFCC7-D8F6-44BC-A001-AAF1884E580A}" dt="2022-02-28T10:18:29.073" v="3779" actId="113"/>
          <ac:spMkLst>
            <pc:docMk/>
            <pc:sldMk cId="3477616018" sldId="2147373983"/>
            <ac:spMk id="139" creationId="{ED1FE172-3416-440F-BF22-B6FDB4C386C0}"/>
          </ac:spMkLst>
        </pc:spChg>
        <pc:spChg chg="mod">
          <ac:chgData name="Richerzhagen, Bjoern (T CED WLN-DE)" userId="1be7a072-4164-461c-b9ed-ae3c5d97c1a8" providerId="ADAL" clId="{A27AFCC7-D8F6-44BC-A001-AAF1884E580A}" dt="2022-02-28T10:18:29.073" v="3779" actId="113"/>
          <ac:spMkLst>
            <pc:docMk/>
            <pc:sldMk cId="3477616018" sldId="2147373983"/>
            <ac:spMk id="144" creationId="{44B1AAED-F4D4-46D6-9ACC-7790CABE04EA}"/>
          </ac:spMkLst>
        </pc:spChg>
        <pc:spChg chg="mod">
          <ac:chgData name="Richerzhagen, Bjoern (T CED WLN-DE)" userId="1be7a072-4164-461c-b9ed-ae3c5d97c1a8" providerId="ADAL" clId="{A27AFCC7-D8F6-44BC-A001-AAF1884E580A}" dt="2022-02-28T10:18:29.073" v="3779" actId="113"/>
          <ac:spMkLst>
            <pc:docMk/>
            <pc:sldMk cId="3477616018" sldId="2147373983"/>
            <ac:spMk id="155" creationId="{9904AD30-160A-4976-BB91-2F4E091B8F2D}"/>
          </ac:spMkLst>
        </pc:spChg>
        <pc:spChg chg="mod">
          <ac:chgData name="Richerzhagen, Bjoern (T CED WLN-DE)" userId="1be7a072-4164-461c-b9ed-ae3c5d97c1a8" providerId="ADAL" clId="{A27AFCC7-D8F6-44BC-A001-AAF1884E580A}" dt="2022-03-02T12:56:14.888" v="12763" actId="790"/>
          <ac:spMkLst>
            <pc:docMk/>
            <pc:sldMk cId="3477616018" sldId="2147373983"/>
            <ac:spMk id="160" creationId="{7868C115-05A2-42E2-940A-BB637ADB5DA8}"/>
          </ac:spMkLst>
        </pc:spChg>
        <pc:spChg chg="mod">
          <ac:chgData name="Richerzhagen, Bjoern (T CED WLN-DE)" userId="1be7a072-4164-461c-b9ed-ae3c5d97c1a8" providerId="ADAL" clId="{A27AFCC7-D8F6-44BC-A001-AAF1884E580A}" dt="2022-02-28T10:18:29.073" v="3779" actId="113"/>
          <ac:spMkLst>
            <pc:docMk/>
            <pc:sldMk cId="3477616018" sldId="2147373983"/>
            <ac:spMk id="163" creationId="{3BB1E773-4EAD-4625-9A8E-9B35066BD48B}"/>
          </ac:spMkLst>
        </pc:spChg>
        <pc:spChg chg="mod">
          <ac:chgData name="Richerzhagen, Bjoern (T CED WLN-DE)" userId="1be7a072-4164-461c-b9ed-ae3c5d97c1a8" providerId="ADAL" clId="{A27AFCC7-D8F6-44BC-A001-AAF1884E580A}" dt="2022-03-02T12:56:14.869" v="12759" actId="790"/>
          <ac:spMkLst>
            <pc:docMk/>
            <pc:sldMk cId="3477616018" sldId="2147373983"/>
            <ac:spMk id="168" creationId="{94C5203D-053E-458C-9585-58AC5D69A288}"/>
          </ac:spMkLst>
        </pc:spChg>
        <pc:spChg chg="mod">
          <ac:chgData name="Richerzhagen, Bjoern (T CED WLN-DE)" userId="1be7a072-4164-461c-b9ed-ae3c5d97c1a8" providerId="ADAL" clId="{A27AFCC7-D8F6-44BC-A001-AAF1884E580A}" dt="2022-03-02T12:56:14.876" v="12760" actId="790"/>
          <ac:spMkLst>
            <pc:docMk/>
            <pc:sldMk cId="3477616018" sldId="2147373983"/>
            <ac:spMk id="169" creationId="{26F1DB9A-5FD6-431C-9174-D21B006B15E8}"/>
          </ac:spMkLst>
        </pc:spChg>
        <pc:spChg chg="mod">
          <ac:chgData name="Richerzhagen, Bjoern (T CED WLN-DE)" userId="1be7a072-4164-461c-b9ed-ae3c5d97c1a8" providerId="ADAL" clId="{A27AFCC7-D8F6-44BC-A001-AAF1884E580A}" dt="2022-03-02T12:56:14.882" v="12761" actId="790"/>
          <ac:spMkLst>
            <pc:docMk/>
            <pc:sldMk cId="3477616018" sldId="2147373983"/>
            <ac:spMk id="170" creationId="{14B4F0F7-6A0D-43C8-947C-E46A5AD3D6F9}"/>
          </ac:spMkLst>
        </pc:spChg>
      </pc:sldChg>
      <pc:sldChg chg="addSp delSp modSp new mod ord modAnim modNotes modNotesTx">
        <pc:chgData name="Richerzhagen, Bjoern (T CED WLN-DE)" userId="1be7a072-4164-461c-b9ed-ae3c5d97c1a8" providerId="ADAL" clId="{A27AFCC7-D8F6-44BC-A001-AAF1884E580A}" dt="2022-03-08T12:09:40.395" v="38780"/>
        <pc:sldMkLst>
          <pc:docMk/>
          <pc:sldMk cId="3980683368" sldId="2147373984"/>
        </pc:sldMkLst>
        <pc:spChg chg="mod">
          <ac:chgData name="Richerzhagen, Bjoern (T CED WLN-DE)" userId="1be7a072-4164-461c-b9ed-ae3c5d97c1a8" providerId="ADAL" clId="{A27AFCC7-D8F6-44BC-A001-AAF1884E580A}" dt="2022-02-28T10:21:43.346" v="3808" actId="20577"/>
          <ac:spMkLst>
            <pc:docMk/>
            <pc:sldMk cId="3980683368" sldId="2147373984"/>
            <ac:spMk id="2" creationId="{8BD5140A-BA52-4C0D-BB89-D9A1299EBF0E}"/>
          </ac:spMkLst>
        </pc:spChg>
        <pc:spChg chg="del mod">
          <ac:chgData name="Richerzhagen, Bjoern (T CED WLN-DE)" userId="1be7a072-4164-461c-b9ed-ae3c5d97c1a8" providerId="ADAL" clId="{A27AFCC7-D8F6-44BC-A001-AAF1884E580A}" dt="2022-02-28T10:25:07.864" v="3857" actId="478"/>
          <ac:spMkLst>
            <pc:docMk/>
            <pc:sldMk cId="3980683368" sldId="2147373984"/>
            <ac:spMk id="3" creationId="{1D5BB3A4-EFFF-4B4E-ABF3-B4CD4681BAD0}"/>
          </ac:spMkLst>
        </pc:spChg>
        <pc:spChg chg="add mod">
          <ac:chgData name="Richerzhagen, Bjoern (T CED WLN-DE)" userId="1be7a072-4164-461c-b9ed-ae3c5d97c1a8" providerId="ADAL" clId="{A27AFCC7-D8F6-44BC-A001-AAF1884E580A}" dt="2022-02-28T10:48:55.073" v="4193" actId="113"/>
          <ac:spMkLst>
            <pc:docMk/>
            <pc:sldMk cId="3980683368" sldId="2147373984"/>
            <ac:spMk id="4" creationId="{9AD0EA9B-26C4-4581-89FF-D84757FFB4E2}"/>
          </ac:spMkLst>
        </pc:spChg>
        <pc:spChg chg="add mod">
          <ac:chgData name="Richerzhagen, Bjoern (T CED WLN-DE)" userId="1be7a072-4164-461c-b9ed-ae3c5d97c1a8" providerId="ADAL" clId="{A27AFCC7-D8F6-44BC-A001-AAF1884E580A}" dt="2022-02-28T10:46:20.227" v="4180" actId="1582"/>
          <ac:spMkLst>
            <pc:docMk/>
            <pc:sldMk cId="3980683368" sldId="2147373984"/>
            <ac:spMk id="5" creationId="{9781BFBE-B86A-4F60-AFC4-BEF92648CB97}"/>
          </ac:spMkLst>
        </pc:spChg>
        <pc:spChg chg="add del mod">
          <ac:chgData name="Richerzhagen, Bjoern (T CED WLN-DE)" userId="1be7a072-4164-461c-b9ed-ae3c5d97c1a8" providerId="ADAL" clId="{A27AFCC7-D8F6-44BC-A001-AAF1884E580A}" dt="2022-02-28T10:27:05.038" v="3886" actId="478"/>
          <ac:spMkLst>
            <pc:docMk/>
            <pc:sldMk cId="3980683368" sldId="2147373984"/>
            <ac:spMk id="6" creationId="{25233331-9AFA-4092-9D3F-5C761A53076E}"/>
          </ac:spMkLst>
        </pc:spChg>
        <pc:spChg chg="add del mod">
          <ac:chgData name="Richerzhagen, Bjoern (T CED WLN-DE)" userId="1be7a072-4164-461c-b9ed-ae3c5d97c1a8" providerId="ADAL" clId="{A27AFCC7-D8F6-44BC-A001-AAF1884E580A}" dt="2022-02-28T10:27:05.038" v="3886" actId="478"/>
          <ac:spMkLst>
            <pc:docMk/>
            <pc:sldMk cId="3980683368" sldId="2147373984"/>
            <ac:spMk id="7" creationId="{E62E19E2-0323-44BC-BCA6-9F79F0370988}"/>
          </ac:spMkLst>
        </pc:spChg>
        <pc:spChg chg="add del mod">
          <ac:chgData name="Richerzhagen, Bjoern (T CED WLN-DE)" userId="1be7a072-4164-461c-b9ed-ae3c5d97c1a8" providerId="ADAL" clId="{A27AFCC7-D8F6-44BC-A001-AAF1884E580A}" dt="2022-02-28T10:27:17.596" v="3888"/>
          <ac:spMkLst>
            <pc:docMk/>
            <pc:sldMk cId="3980683368" sldId="2147373984"/>
            <ac:spMk id="8" creationId="{429238E5-8D6C-4FA8-86B3-0934098F5CFA}"/>
          </ac:spMkLst>
        </pc:spChg>
        <pc:spChg chg="add del mod">
          <ac:chgData name="Richerzhagen, Bjoern (T CED WLN-DE)" userId="1be7a072-4164-461c-b9ed-ae3c5d97c1a8" providerId="ADAL" clId="{A27AFCC7-D8F6-44BC-A001-AAF1884E580A}" dt="2022-02-28T10:27:17.596" v="3888"/>
          <ac:spMkLst>
            <pc:docMk/>
            <pc:sldMk cId="3980683368" sldId="2147373984"/>
            <ac:spMk id="9" creationId="{4CD71428-B103-406C-9E46-6CB6264E9AFA}"/>
          </ac:spMkLst>
        </pc:spChg>
        <pc:spChg chg="add del mod">
          <ac:chgData name="Richerzhagen, Bjoern (T CED WLN-DE)" userId="1be7a072-4164-461c-b9ed-ae3c5d97c1a8" providerId="ADAL" clId="{A27AFCC7-D8F6-44BC-A001-AAF1884E580A}" dt="2022-02-28T10:27:17.596" v="3888"/>
          <ac:spMkLst>
            <pc:docMk/>
            <pc:sldMk cId="3980683368" sldId="2147373984"/>
            <ac:spMk id="10" creationId="{9415E6FF-9E96-4187-A92D-E8C0BA851F45}"/>
          </ac:spMkLst>
        </pc:spChg>
        <pc:spChg chg="add del mod topLvl">
          <ac:chgData name="Richerzhagen, Bjoern (T CED WLN-DE)" userId="1be7a072-4164-461c-b9ed-ae3c5d97c1a8" providerId="ADAL" clId="{A27AFCC7-D8F6-44BC-A001-AAF1884E580A}" dt="2022-02-28T10:39:20.811" v="4105"/>
          <ac:spMkLst>
            <pc:docMk/>
            <pc:sldMk cId="3980683368" sldId="2147373984"/>
            <ac:spMk id="12" creationId="{B76D706E-F4BC-4EC1-9F1B-23EACF7BB3D3}"/>
          </ac:spMkLst>
        </pc:spChg>
        <pc:spChg chg="add mod topLvl">
          <ac:chgData name="Richerzhagen, Bjoern (T CED WLN-DE)" userId="1be7a072-4164-461c-b9ed-ae3c5d97c1a8" providerId="ADAL" clId="{A27AFCC7-D8F6-44BC-A001-AAF1884E580A}" dt="2022-02-28T10:45:12.698" v="4178" actId="1076"/>
          <ac:spMkLst>
            <pc:docMk/>
            <pc:sldMk cId="3980683368" sldId="2147373984"/>
            <ac:spMk id="13" creationId="{5742C3F5-DF45-4BB3-95B7-162D648FB246}"/>
          </ac:spMkLst>
        </pc:spChg>
        <pc:spChg chg="add mod topLvl">
          <ac:chgData name="Richerzhagen, Bjoern (T CED WLN-DE)" userId="1be7a072-4164-461c-b9ed-ae3c5d97c1a8" providerId="ADAL" clId="{A27AFCC7-D8F6-44BC-A001-AAF1884E580A}" dt="2022-02-28T10:45:24.078" v="4179" actId="1076"/>
          <ac:spMkLst>
            <pc:docMk/>
            <pc:sldMk cId="3980683368" sldId="2147373984"/>
            <ac:spMk id="14" creationId="{D6F3FF8C-C14C-456B-8A5A-DDF1588E123B}"/>
          </ac:spMkLst>
        </pc:spChg>
        <pc:spChg chg="add mod topLvl">
          <ac:chgData name="Richerzhagen, Bjoern (T CED WLN-DE)" userId="1be7a072-4164-461c-b9ed-ae3c5d97c1a8" providerId="ADAL" clId="{A27AFCC7-D8F6-44BC-A001-AAF1884E580A}" dt="2022-02-28T10:45:24.078" v="4179" actId="1076"/>
          <ac:spMkLst>
            <pc:docMk/>
            <pc:sldMk cId="3980683368" sldId="2147373984"/>
            <ac:spMk id="15" creationId="{E4827D96-3ED0-4517-81A1-9FAE974C0539}"/>
          </ac:spMkLst>
        </pc:spChg>
        <pc:spChg chg="add mod">
          <ac:chgData name="Richerzhagen, Bjoern (T CED WLN-DE)" userId="1be7a072-4164-461c-b9ed-ae3c5d97c1a8" providerId="ADAL" clId="{A27AFCC7-D8F6-44BC-A001-AAF1884E580A}" dt="2022-02-28T10:46:20.227" v="4180" actId="1582"/>
          <ac:spMkLst>
            <pc:docMk/>
            <pc:sldMk cId="3980683368" sldId="2147373984"/>
            <ac:spMk id="17" creationId="{9D64EED9-9087-412A-A548-7A4A8F8C29AC}"/>
          </ac:spMkLst>
        </pc:spChg>
        <pc:spChg chg="add mod">
          <ac:chgData name="Richerzhagen, Bjoern (T CED WLN-DE)" userId="1be7a072-4164-461c-b9ed-ae3c5d97c1a8" providerId="ADAL" clId="{A27AFCC7-D8F6-44BC-A001-AAF1884E580A}" dt="2022-03-02T08:20:55.144" v="11660" actId="14100"/>
          <ac:spMkLst>
            <pc:docMk/>
            <pc:sldMk cId="3980683368" sldId="2147373984"/>
            <ac:spMk id="18" creationId="{569D7FB2-5AFB-452D-8501-4947AACA15F8}"/>
          </ac:spMkLst>
        </pc:spChg>
        <pc:spChg chg="add mod">
          <ac:chgData name="Richerzhagen, Bjoern (T CED WLN-DE)" userId="1be7a072-4164-461c-b9ed-ae3c5d97c1a8" providerId="ADAL" clId="{A27AFCC7-D8F6-44BC-A001-AAF1884E580A}" dt="2022-02-28T10:44:06.828" v="4172" actId="1076"/>
          <ac:spMkLst>
            <pc:docMk/>
            <pc:sldMk cId="3980683368" sldId="2147373984"/>
            <ac:spMk id="19" creationId="{55F5692B-6583-45BE-B522-EE84E9844F3D}"/>
          </ac:spMkLst>
        </pc:spChg>
        <pc:spChg chg="add mod">
          <ac:chgData name="Richerzhagen, Bjoern (T CED WLN-DE)" userId="1be7a072-4164-461c-b9ed-ae3c5d97c1a8" providerId="ADAL" clId="{A27AFCC7-D8F6-44BC-A001-AAF1884E580A}" dt="2022-02-28T10:37:33.790" v="4083" actId="1076"/>
          <ac:spMkLst>
            <pc:docMk/>
            <pc:sldMk cId="3980683368" sldId="2147373984"/>
            <ac:spMk id="20" creationId="{F8C2F568-C821-42D2-924D-8EF715AF0BC1}"/>
          </ac:spMkLst>
        </pc:spChg>
        <pc:spChg chg="add mod">
          <ac:chgData name="Richerzhagen, Bjoern (T CED WLN-DE)" userId="1be7a072-4164-461c-b9ed-ae3c5d97c1a8" providerId="ADAL" clId="{A27AFCC7-D8F6-44BC-A001-AAF1884E580A}" dt="2022-02-28T10:37:33.790" v="4083" actId="1076"/>
          <ac:spMkLst>
            <pc:docMk/>
            <pc:sldMk cId="3980683368" sldId="2147373984"/>
            <ac:spMk id="21" creationId="{CBB18EEC-FD15-4CAC-8D3F-A53489E620CD}"/>
          </ac:spMkLst>
        </pc:spChg>
        <pc:spChg chg="add mod">
          <ac:chgData name="Richerzhagen, Bjoern (T CED WLN-DE)" userId="1be7a072-4164-461c-b9ed-ae3c5d97c1a8" providerId="ADAL" clId="{A27AFCC7-D8F6-44BC-A001-AAF1884E580A}" dt="2022-02-28T10:46:20.227" v="4180" actId="1582"/>
          <ac:spMkLst>
            <pc:docMk/>
            <pc:sldMk cId="3980683368" sldId="2147373984"/>
            <ac:spMk id="23" creationId="{646214A0-DF02-498A-A1E8-848391364C48}"/>
          </ac:spMkLst>
        </pc:spChg>
        <pc:spChg chg="add mod ord">
          <ac:chgData name="Richerzhagen, Bjoern (T CED WLN-DE)" userId="1be7a072-4164-461c-b9ed-ae3c5d97c1a8" providerId="ADAL" clId="{A27AFCC7-D8F6-44BC-A001-AAF1884E580A}" dt="2022-03-02T08:21:00.520" v="11661" actId="167"/>
          <ac:spMkLst>
            <pc:docMk/>
            <pc:sldMk cId="3980683368" sldId="2147373984"/>
            <ac:spMk id="24" creationId="{0B515B0F-17DD-4022-8903-3C9B0156F02C}"/>
          </ac:spMkLst>
        </pc:spChg>
        <pc:spChg chg="add del mod">
          <ac:chgData name="Richerzhagen, Bjoern (T CED WLN-DE)" userId="1be7a072-4164-461c-b9ed-ae3c5d97c1a8" providerId="ADAL" clId="{A27AFCC7-D8F6-44BC-A001-AAF1884E580A}" dt="2022-03-08T07:30:52.255" v="16865" actId="478"/>
          <ac:spMkLst>
            <pc:docMk/>
            <pc:sldMk cId="3980683368" sldId="2147373984"/>
            <ac:spMk id="25" creationId="{78FD0FFA-64BB-4160-B878-26B9A3B600E1}"/>
          </ac:spMkLst>
        </pc:spChg>
        <pc:spChg chg="del mod">
          <ac:chgData name="Richerzhagen, Bjoern (T CED WLN-DE)" userId="1be7a072-4164-461c-b9ed-ae3c5d97c1a8" providerId="ADAL" clId="{A27AFCC7-D8F6-44BC-A001-AAF1884E580A}" dt="2022-02-28T10:36:09.788" v="4005" actId="478"/>
          <ac:spMkLst>
            <pc:docMk/>
            <pc:sldMk cId="3980683368" sldId="2147373984"/>
            <ac:spMk id="26" creationId="{D844B411-1BB7-4B20-BFFB-C8D8205ED1F8}"/>
          </ac:spMkLst>
        </pc:spChg>
        <pc:spChg chg="del mod">
          <ac:chgData name="Richerzhagen, Bjoern (T CED WLN-DE)" userId="1be7a072-4164-461c-b9ed-ae3c5d97c1a8" providerId="ADAL" clId="{A27AFCC7-D8F6-44BC-A001-AAF1884E580A}" dt="2022-02-28T10:36:08.554" v="4004" actId="478"/>
          <ac:spMkLst>
            <pc:docMk/>
            <pc:sldMk cId="3980683368" sldId="2147373984"/>
            <ac:spMk id="27" creationId="{1E1C27CB-8618-4BC9-BCD4-91997DCCFBA5}"/>
          </ac:spMkLst>
        </pc:spChg>
        <pc:spChg chg="mod">
          <ac:chgData name="Richerzhagen, Bjoern (T CED WLN-DE)" userId="1be7a072-4164-461c-b9ed-ae3c5d97c1a8" providerId="ADAL" clId="{A27AFCC7-D8F6-44BC-A001-AAF1884E580A}" dt="2022-02-28T10:33:41.606" v="3983"/>
          <ac:spMkLst>
            <pc:docMk/>
            <pc:sldMk cId="3980683368" sldId="2147373984"/>
            <ac:spMk id="28" creationId="{DFBB441A-D2FA-4551-9520-B1ACBBFA173E}"/>
          </ac:spMkLst>
        </pc:spChg>
        <pc:spChg chg="mod">
          <ac:chgData name="Richerzhagen, Bjoern (T CED WLN-DE)" userId="1be7a072-4164-461c-b9ed-ae3c5d97c1a8" providerId="ADAL" clId="{A27AFCC7-D8F6-44BC-A001-AAF1884E580A}" dt="2022-02-28T10:33:41.606" v="3983"/>
          <ac:spMkLst>
            <pc:docMk/>
            <pc:sldMk cId="3980683368" sldId="2147373984"/>
            <ac:spMk id="29" creationId="{1447D075-9F84-457C-BBF8-0C1DA36458C2}"/>
          </ac:spMkLst>
        </pc:spChg>
        <pc:spChg chg="add mod">
          <ac:chgData name="Richerzhagen, Bjoern (T CED WLN-DE)" userId="1be7a072-4164-461c-b9ed-ae3c5d97c1a8" providerId="ADAL" clId="{A27AFCC7-D8F6-44BC-A001-AAF1884E580A}" dt="2022-02-28T10:41:00.489" v="4127" actId="14100"/>
          <ac:spMkLst>
            <pc:docMk/>
            <pc:sldMk cId="3980683368" sldId="2147373984"/>
            <ac:spMk id="30" creationId="{4C1ABD59-3A10-4DDA-BB81-4CB5CA030CAB}"/>
          </ac:spMkLst>
        </pc:spChg>
        <pc:spChg chg="add mod">
          <ac:chgData name="Richerzhagen, Bjoern (T CED WLN-DE)" userId="1be7a072-4164-461c-b9ed-ae3c5d97c1a8" providerId="ADAL" clId="{A27AFCC7-D8F6-44BC-A001-AAF1884E580A}" dt="2022-02-28T10:42:29.901" v="4146" actId="1076"/>
          <ac:spMkLst>
            <pc:docMk/>
            <pc:sldMk cId="3980683368" sldId="2147373984"/>
            <ac:spMk id="31" creationId="{F0B7EBC9-80AC-41E4-92D0-F7C6F1AD18B3}"/>
          </ac:spMkLst>
        </pc:spChg>
        <pc:spChg chg="add mod">
          <ac:chgData name="Richerzhagen, Bjoern (T CED WLN-DE)" userId="1be7a072-4164-461c-b9ed-ae3c5d97c1a8" providerId="ADAL" clId="{A27AFCC7-D8F6-44BC-A001-AAF1884E580A}" dt="2022-02-28T10:42:29.901" v="4146" actId="1076"/>
          <ac:spMkLst>
            <pc:docMk/>
            <pc:sldMk cId="3980683368" sldId="2147373984"/>
            <ac:spMk id="32" creationId="{D4B240D4-341F-4C28-B8B6-C3FDA0C54050}"/>
          </ac:spMkLst>
        </pc:spChg>
        <pc:spChg chg="add mod">
          <ac:chgData name="Richerzhagen, Bjoern (T CED WLN-DE)" userId="1be7a072-4164-461c-b9ed-ae3c5d97c1a8" providerId="ADAL" clId="{A27AFCC7-D8F6-44BC-A001-AAF1884E580A}" dt="2022-02-28T10:40:30.276" v="4123" actId="1076"/>
          <ac:spMkLst>
            <pc:docMk/>
            <pc:sldMk cId="3980683368" sldId="2147373984"/>
            <ac:spMk id="33" creationId="{2C14A965-1616-4DDE-BF7D-7EA279DA853B}"/>
          </ac:spMkLst>
        </pc:spChg>
        <pc:spChg chg="mod">
          <ac:chgData name="Richerzhagen, Bjoern (T CED WLN-DE)" userId="1be7a072-4164-461c-b9ed-ae3c5d97c1a8" providerId="ADAL" clId="{A27AFCC7-D8F6-44BC-A001-AAF1884E580A}" dt="2022-02-28T10:34:16.091" v="3990"/>
          <ac:spMkLst>
            <pc:docMk/>
            <pc:sldMk cId="3980683368" sldId="2147373984"/>
            <ac:spMk id="36" creationId="{C253389E-B195-4EC3-B6BD-0B1CDAA8B5D6}"/>
          </ac:spMkLst>
        </pc:spChg>
        <pc:spChg chg="mod">
          <ac:chgData name="Richerzhagen, Bjoern (T CED WLN-DE)" userId="1be7a072-4164-461c-b9ed-ae3c5d97c1a8" providerId="ADAL" clId="{A27AFCC7-D8F6-44BC-A001-AAF1884E580A}" dt="2022-02-28T10:34:16.091" v="3990"/>
          <ac:spMkLst>
            <pc:docMk/>
            <pc:sldMk cId="3980683368" sldId="2147373984"/>
            <ac:spMk id="37" creationId="{C617515A-8F2A-4BF9-9648-EE3DE6895FE2}"/>
          </ac:spMkLst>
        </pc:spChg>
        <pc:spChg chg="mod">
          <ac:chgData name="Richerzhagen, Bjoern (T CED WLN-DE)" userId="1be7a072-4164-461c-b9ed-ae3c5d97c1a8" providerId="ADAL" clId="{A27AFCC7-D8F6-44BC-A001-AAF1884E580A}" dt="2022-02-28T10:34:16.091" v="3990"/>
          <ac:spMkLst>
            <pc:docMk/>
            <pc:sldMk cId="3980683368" sldId="2147373984"/>
            <ac:spMk id="38" creationId="{1CBC544A-5183-4AA2-9608-2DA319B4D750}"/>
          </ac:spMkLst>
        </pc:spChg>
        <pc:spChg chg="mod">
          <ac:chgData name="Richerzhagen, Bjoern (T CED WLN-DE)" userId="1be7a072-4164-461c-b9ed-ae3c5d97c1a8" providerId="ADAL" clId="{A27AFCC7-D8F6-44BC-A001-AAF1884E580A}" dt="2022-02-28T10:34:16.091" v="3990"/>
          <ac:spMkLst>
            <pc:docMk/>
            <pc:sldMk cId="3980683368" sldId="2147373984"/>
            <ac:spMk id="39" creationId="{CB36A730-785F-467A-84BD-32990089ACCF}"/>
          </ac:spMkLst>
        </pc:spChg>
        <pc:spChg chg="add del mod">
          <ac:chgData name="Richerzhagen, Bjoern (T CED WLN-DE)" userId="1be7a072-4164-461c-b9ed-ae3c5d97c1a8" providerId="ADAL" clId="{A27AFCC7-D8F6-44BC-A001-AAF1884E580A}" dt="2022-02-28T10:39:20.811" v="4105"/>
          <ac:spMkLst>
            <pc:docMk/>
            <pc:sldMk cId="3980683368" sldId="2147373984"/>
            <ac:spMk id="40" creationId="{ABA71CB7-9606-40E6-86D6-0C516DFE65D2}"/>
          </ac:spMkLst>
        </pc:spChg>
        <pc:spChg chg="mod ord">
          <ac:chgData name="Richerzhagen, Bjoern (T CED WLN-DE)" userId="1be7a072-4164-461c-b9ed-ae3c5d97c1a8" providerId="ADAL" clId="{A27AFCC7-D8F6-44BC-A001-AAF1884E580A}" dt="2022-02-28T10:45:05.802" v="4177" actId="14100"/>
          <ac:spMkLst>
            <pc:docMk/>
            <pc:sldMk cId="3980683368" sldId="2147373984"/>
            <ac:spMk id="41" creationId="{609D3073-CA15-44E9-A074-AA219D070897}"/>
          </ac:spMkLst>
        </pc:spChg>
        <pc:grpChg chg="add del mod">
          <ac:chgData name="Richerzhagen, Bjoern (T CED WLN-DE)" userId="1be7a072-4164-461c-b9ed-ae3c5d97c1a8" providerId="ADAL" clId="{A27AFCC7-D8F6-44BC-A001-AAF1884E580A}" dt="2022-02-28T10:39:00.735" v="4101" actId="165"/>
          <ac:grpSpMkLst>
            <pc:docMk/>
            <pc:sldMk cId="3980683368" sldId="2147373984"/>
            <ac:grpSpMk id="16" creationId="{00E8AF45-D67F-4FCD-9DE5-6D1DA1BCEC9B}"/>
          </ac:grpSpMkLst>
        </pc:grpChg>
        <pc:grpChg chg="add mod ord">
          <ac:chgData name="Richerzhagen, Bjoern (T CED WLN-DE)" userId="1be7a072-4164-461c-b9ed-ae3c5d97c1a8" providerId="ADAL" clId="{A27AFCC7-D8F6-44BC-A001-AAF1884E580A}" dt="2022-02-28T10:43:41.630" v="4167" actId="1076"/>
          <ac:grpSpMkLst>
            <pc:docMk/>
            <pc:sldMk cId="3980683368" sldId="2147373984"/>
            <ac:grpSpMk id="22" creationId="{463AE203-866F-4708-B181-BFD5F47229DD}"/>
          </ac:grpSpMkLst>
        </pc:grpChg>
        <pc:grpChg chg="add del mod">
          <ac:chgData name="Richerzhagen, Bjoern (T CED WLN-DE)" userId="1be7a072-4164-461c-b9ed-ae3c5d97c1a8" providerId="ADAL" clId="{A27AFCC7-D8F6-44BC-A001-AAF1884E580A}" dt="2022-02-28T10:38:49.809" v="4100" actId="478"/>
          <ac:grpSpMkLst>
            <pc:docMk/>
            <pc:sldMk cId="3980683368" sldId="2147373984"/>
            <ac:grpSpMk id="25" creationId="{B49BA2A8-A0F6-4365-B448-05CF724D2DF8}"/>
          </ac:grpSpMkLst>
        </pc:grpChg>
        <pc:grpChg chg="add mod">
          <ac:chgData name="Richerzhagen, Bjoern (T CED WLN-DE)" userId="1be7a072-4164-461c-b9ed-ae3c5d97c1a8" providerId="ADAL" clId="{A27AFCC7-D8F6-44BC-A001-AAF1884E580A}" dt="2022-03-02T08:20:50.745" v="11659" actId="1076"/>
          <ac:grpSpMkLst>
            <pc:docMk/>
            <pc:sldMk cId="3980683368" sldId="2147373984"/>
            <ac:grpSpMk id="34" creationId="{56FAE068-01B7-4C38-9AAC-A84CD35B2531}"/>
          </ac:grpSpMkLst>
        </pc:grpChg>
        <pc:grpChg chg="add del mod">
          <ac:chgData name="Richerzhagen, Bjoern (T CED WLN-DE)" userId="1be7a072-4164-461c-b9ed-ae3c5d97c1a8" providerId="ADAL" clId="{A27AFCC7-D8F6-44BC-A001-AAF1884E580A}" dt="2022-02-28T10:38:20.158" v="4098" actId="478"/>
          <ac:grpSpMkLst>
            <pc:docMk/>
            <pc:sldMk cId="3980683368" sldId="2147373984"/>
            <ac:grpSpMk id="35" creationId="{8BB1496F-F505-40E2-A65C-EBE76C191FBC}"/>
          </ac:grpSpMkLst>
        </pc:grpChg>
        <pc:grpChg chg="add mod ord">
          <ac:chgData name="Richerzhagen, Bjoern (T CED WLN-DE)" userId="1be7a072-4164-461c-b9ed-ae3c5d97c1a8" providerId="ADAL" clId="{A27AFCC7-D8F6-44BC-A001-AAF1884E580A}" dt="2022-02-28T10:42:39.874" v="4153" actId="1038"/>
          <ac:grpSpMkLst>
            <pc:docMk/>
            <pc:sldMk cId="3980683368" sldId="2147373984"/>
            <ac:grpSpMk id="42" creationId="{324469AF-DD6D-4C2E-BC4F-C1A74C3342DC}"/>
          </ac:grpSpMkLst>
        </pc:grpChg>
        <pc:picChg chg="add del">
          <ac:chgData name="Richerzhagen, Bjoern (T CED WLN-DE)" userId="1be7a072-4164-461c-b9ed-ae3c5d97c1a8" providerId="ADAL" clId="{A27AFCC7-D8F6-44BC-A001-AAF1884E580A}" dt="2022-02-28T10:27:19.481" v="3890"/>
          <ac:picMkLst>
            <pc:docMk/>
            <pc:sldMk cId="3980683368" sldId="2147373984"/>
            <ac:picMk id="11" creationId="{FBD220EB-00B1-411D-BF77-802CED8B3BDC}"/>
          </ac:picMkLst>
        </pc:picChg>
      </pc:sldChg>
      <pc:sldChg chg="modSp new del mod ord">
        <pc:chgData name="Richerzhagen, Bjoern (T CED WLN-DE)" userId="1be7a072-4164-461c-b9ed-ae3c5d97c1a8" providerId="ADAL" clId="{A27AFCC7-D8F6-44BC-A001-AAF1884E580A}" dt="2022-03-01T15:43:12.180" v="7746" actId="47"/>
        <pc:sldMkLst>
          <pc:docMk/>
          <pc:sldMk cId="1813853669" sldId="2147373985"/>
        </pc:sldMkLst>
        <pc:spChg chg="mod">
          <ac:chgData name="Richerzhagen, Bjoern (T CED WLN-DE)" userId="1be7a072-4164-461c-b9ed-ae3c5d97c1a8" providerId="ADAL" clId="{A27AFCC7-D8F6-44BC-A001-AAF1884E580A}" dt="2022-02-28T13:41:32.499" v="4271" actId="20577"/>
          <ac:spMkLst>
            <pc:docMk/>
            <pc:sldMk cId="1813853669" sldId="2147373985"/>
            <ac:spMk id="2" creationId="{9C6339C7-BD10-41AA-87E5-DE3CAF2D25D5}"/>
          </ac:spMkLst>
        </pc:spChg>
      </pc:sldChg>
      <pc:sldChg chg="add mod modShow modNotes">
        <pc:chgData name="Richerzhagen, Bjoern (T CED WLN-DE)" userId="1be7a072-4164-461c-b9ed-ae3c5d97c1a8" providerId="ADAL" clId="{A27AFCC7-D8F6-44BC-A001-AAF1884E580A}" dt="2022-03-02T14:37:35.843" v="16114" actId="729"/>
        <pc:sldMkLst>
          <pc:docMk/>
          <pc:sldMk cId="2801443894" sldId="2147373995"/>
        </pc:sldMkLst>
      </pc:sldChg>
      <pc:sldChg chg="add del mod ord modShow">
        <pc:chgData name="Richerzhagen, Bjoern (T CED WLN-DE)" userId="1be7a072-4164-461c-b9ed-ae3c5d97c1a8" providerId="ADAL" clId="{A27AFCC7-D8F6-44BC-A001-AAF1884E580A}" dt="2022-03-02T08:23:10.899" v="11674" actId="47"/>
        <pc:sldMkLst>
          <pc:docMk/>
          <pc:sldMk cId="3484234440" sldId="2147374016"/>
        </pc:sldMkLst>
      </pc:sldChg>
      <pc:sldChg chg="addSp delSp modSp new mod ord chgLayout modNotes modNotesTx">
        <pc:chgData name="Richerzhagen, Bjoern (T CED WLN-DE)" userId="1be7a072-4164-461c-b9ed-ae3c5d97c1a8" providerId="ADAL" clId="{A27AFCC7-D8F6-44BC-A001-AAF1884E580A}" dt="2022-03-08T12:05:33.624" v="38779" actId="1076"/>
        <pc:sldMkLst>
          <pc:docMk/>
          <pc:sldMk cId="1540424334" sldId="2147374017"/>
        </pc:sldMkLst>
        <pc:spChg chg="del">
          <ac:chgData name="Richerzhagen, Bjoern (T CED WLN-DE)" userId="1be7a072-4164-461c-b9ed-ae3c5d97c1a8" providerId="ADAL" clId="{A27AFCC7-D8F6-44BC-A001-AAF1884E580A}" dt="2022-03-01T12:15:46.588" v="4382" actId="700"/>
          <ac:spMkLst>
            <pc:docMk/>
            <pc:sldMk cId="1540424334" sldId="2147374017"/>
            <ac:spMk id="2" creationId="{7DEE003F-52A2-403D-B33E-B913B25C847B}"/>
          </ac:spMkLst>
        </pc:spChg>
        <pc:spChg chg="add mod">
          <ac:chgData name="Richerzhagen, Bjoern (T CED WLN-DE)" userId="1be7a072-4164-461c-b9ed-ae3c5d97c1a8" providerId="ADAL" clId="{A27AFCC7-D8F6-44BC-A001-AAF1884E580A}" dt="2022-03-08T12:04:11.578" v="38755" actId="1076"/>
          <ac:spMkLst>
            <pc:docMk/>
            <pc:sldMk cId="1540424334" sldId="2147374017"/>
            <ac:spMk id="2" creationId="{F03DD13B-B74A-4A8E-AB5A-B52BBFFEB658}"/>
          </ac:spMkLst>
        </pc:spChg>
        <pc:spChg chg="del">
          <ac:chgData name="Richerzhagen, Bjoern (T CED WLN-DE)" userId="1be7a072-4164-461c-b9ed-ae3c5d97c1a8" providerId="ADAL" clId="{A27AFCC7-D8F6-44BC-A001-AAF1884E580A}" dt="2022-03-01T12:15:46.588" v="4382" actId="700"/>
          <ac:spMkLst>
            <pc:docMk/>
            <pc:sldMk cId="1540424334" sldId="2147374017"/>
            <ac:spMk id="3" creationId="{52EF81B5-5E20-4F3E-9304-651639961BA1}"/>
          </ac:spMkLst>
        </pc:spChg>
        <pc:spChg chg="del">
          <ac:chgData name="Richerzhagen, Bjoern (T CED WLN-DE)" userId="1be7a072-4164-461c-b9ed-ae3c5d97c1a8" providerId="ADAL" clId="{A27AFCC7-D8F6-44BC-A001-AAF1884E580A}" dt="2022-03-01T12:15:46.588" v="4382" actId="700"/>
          <ac:spMkLst>
            <pc:docMk/>
            <pc:sldMk cId="1540424334" sldId="2147374017"/>
            <ac:spMk id="4" creationId="{98E75488-57D1-4EE2-A0DA-4900369FB968}"/>
          </ac:spMkLst>
        </pc:spChg>
        <pc:spChg chg="del">
          <ac:chgData name="Richerzhagen, Bjoern (T CED WLN-DE)" userId="1be7a072-4164-461c-b9ed-ae3c5d97c1a8" providerId="ADAL" clId="{A27AFCC7-D8F6-44BC-A001-AAF1884E580A}" dt="2022-03-01T12:15:46.588" v="4382" actId="700"/>
          <ac:spMkLst>
            <pc:docMk/>
            <pc:sldMk cId="1540424334" sldId="2147374017"/>
            <ac:spMk id="5" creationId="{CD8518EB-8980-40F4-859C-6AAE80250F6C}"/>
          </ac:spMkLst>
        </pc:spChg>
        <pc:spChg chg="del">
          <ac:chgData name="Richerzhagen, Bjoern (T CED WLN-DE)" userId="1be7a072-4164-461c-b9ed-ae3c5d97c1a8" providerId="ADAL" clId="{A27AFCC7-D8F6-44BC-A001-AAF1884E580A}" dt="2022-03-01T12:15:46.588" v="4382" actId="700"/>
          <ac:spMkLst>
            <pc:docMk/>
            <pc:sldMk cId="1540424334" sldId="2147374017"/>
            <ac:spMk id="6" creationId="{E07F7186-6089-4367-92CD-95CCA70EAC97}"/>
          </ac:spMkLst>
        </pc:spChg>
        <pc:spChg chg="del mod ord">
          <ac:chgData name="Richerzhagen, Bjoern (T CED WLN-DE)" userId="1be7a072-4164-461c-b9ed-ae3c5d97c1a8" providerId="ADAL" clId="{A27AFCC7-D8F6-44BC-A001-AAF1884E580A}" dt="2022-03-01T12:15:46.588" v="4382" actId="700"/>
          <ac:spMkLst>
            <pc:docMk/>
            <pc:sldMk cId="1540424334" sldId="2147374017"/>
            <ac:spMk id="7" creationId="{035D5D84-F3DD-4DA9-80DA-8FCEF602E562}"/>
          </ac:spMkLst>
        </pc:spChg>
        <pc:spChg chg="del mod ord">
          <ac:chgData name="Richerzhagen, Bjoern (T CED WLN-DE)" userId="1be7a072-4164-461c-b9ed-ae3c5d97c1a8" providerId="ADAL" clId="{A27AFCC7-D8F6-44BC-A001-AAF1884E580A}" dt="2022-03-01T12:15:46.588" v="4382" actId="700"/>
          <ac:spMkLst>
            <pc:docMk/>
            <pc:sldMk cId="1540424334" sldId="2147374017"/>
            <ac:spMk id="8" creationId="{A27F79DE-F500-4647-93B6-2D0A20C0A5B2}"/>
          </ac:spMkLst>
        </pc:spChg>
        <pc:spChg chg="del">
          <ac:chgData name="Richerzhagen, Bjoern (T CED WLN-DE)" userId="1be7a072-4164-461c-b9ed-ae3c5d97c1a8" providerId="ADAL" clId="{A27AFCC7-D8F6-44BC-A001-AAF1884E580A}" dt="2022-03-01T12:15:46.588" v="4382" actId="700"/>
          <ac:spMkLst>
            <pc:docMk/>
            <pc:sldMk cId="1540424334" sldId="2147374017"/>
            <ac:spMk id="9" creationId="{D0CAF19B-C613-4492-AC05-4CF153A6C306}"/>
          </ac:spMkLst>
        </pc:spChg>
        <pc:spChg chg="add mod ord">
          <ac:chgData name="Richerzhagen, Bjoern (T CED WLN-DE)" userId="1be7a072-4164-461c-b9ed-ae3c5d97c1a8" providerId="ADAL" clId="{A27AFCC7-D8F6-44BC-A001-AAF1884E580A}" dt="2022-03-01T12:15:51.770" v="4401" actId="20577"/>
          <ac:spMkLst>
            <pc:docMk/>
            <pc:sldMk cId="1540424334" sldId="2147374017"/>
            <ac:spMk id="10" creationId="{0A4E2685-A25C-4771-AC09-F1033EF0027C}"/>
          </ac:spMkLst>
        </pc:spChg>
        <pc:spChg chg="add mod ord">
          <ac:chgData name="Richerzhagen, Bjoern (T CED WLN-DE)" userId="1be7a072-4164-461c-b9ed-ae3c5d97c1a8" providerId="ADAL" clId="{A27AFCC7-D8F6-44BC-A001-AAF1884E580A}" dt="2022-03-08T07:28:51.438" v="16853"/>
          <ac:spMkLst>
            <pc:docMk/>
            <pc:sldMk cId="1540424334" sldId="2147374017"/>
            <ac:spMk id="11" creationId="{0D2CAB7A-440E-4DC7-AAA5-3A317ADB43D8}"/>
          </ac:spMkLst>
        </pc:spChg>
        <pc:spChg chg="add mod topLvl">
          <ac:chgData name="Richerzhagen, Bjoern (T CED WLN-DE)" userId="1be7a072-4164-461c-b9ed-ae3c5d97c1a8" providerId="ADAL" clId="{A27AFCC7-D8F6-44BC-A001-AAF1884E580A}" dt="2022-03-01T15:16:07.730" v="7093" actId="1035"/>
          <ac:spMkLst>
            <pc:docMk/>
            <pc:sldMk cId="1540424334" sldId="2147374017"/>
            <ac:spMk id="12" creationId="{A6B1E39D-608B-4205-881D-50EAAA7B6AA8}"/>
          </ac:spMkLst>
        </pc:spChg>
        <pc:spChg chg="add mod topLvl">
          <ac:chgData name="Richerzhagen, Bjoern (T CED WLN-DE)" userId="1be7a072-4164-461c-b9ed-ae3c5d97c1a8" providerId="ADAL" clId="{A27AFCC7-D8F6-44BC-A001-AAF1884E580A}" dt="2022-03-02T08:28:03.965" v="11820" actId="14100"/>
          <ac:spMkLst>
            <pc:docMk/>
            <pc:sldMk cId="1540424334" sldId="2147374017"/>
            <ac:spMk id="13" creationId="{0A70B9A9-C826-49CE-B4C6-2DA76DB27497}"/>
          </ac:spMkLst>
        </pc:spChg>
        <pc:spChg chg="add mod topLvl">
          <ac:chgData name="Richerzhagen, Bjoern (T CED WLN-DE)" userId="1be7a072-4164-461c-b9ed-ae3c5d97c1a8" providerId="ADAL" clId="{A27AFCC7-D8F6-44BC-A001-AAF1884E580A}" dt="2022-03-02T08:28:03.965" v="11820" actId="14100"/>
          <ac:spMkLst>
            <pc:docMk/>
            <pc:sldMk cId="1540424334" sldId="2147374017"/>
            <ac:spMk id="14" creationId="{8AB2035B-2535-4E08-9B3C-533CD59C752F}"/>
          </ac:spMkLst>
        </pc:spChg>
        <pc:spChg chg="add mod topLvl">
          <ac:chgData name="Richerzhagen, Bjoern (T CED WLN-DE)" userId="1be7a072-4164-461c-b9ed-ae3c5d97c1a8" providerId="ADAL" clId="{A27AFCC7-D8F6-44BC-A001-AAF1884E580A}" dt="2022-03-01T15:16:07.730" v="7093" actId="1035"/>
          <ac:spMkLst>
            <pc:docMk/>
            <pc:sldMk cId="1540424334" sldId="2147374017"/>
            <ac:spMk id="15" creationId="{9F9053A2-5C42-447D-B526-F7591881ADB3}"/>
          </ac:spMkLst>
        </pc:spChg>
        <pc:spChg chg="add mod topLvl">
          <ac:chgData name="Richerzhagen, Bjoern (T CED WLN-DE)" userId="1be7a072-4164-461c-b9ed-ae3c5d97c1a8" providerId="ADAL" clId="{A27AFCC7-D8F6-44BC-A001-AAF1884E580A}" dt="2022-03-01T15:16:07.730" v="7093" actId="1035"/>
          <ac:spMkLst>
            <pc:docMk/>
            <pc:sldMk cId="1540424334" sldId="2147374017"/>
            <ac:spMk id="16" creationId="{2298A2C6-ADF0-4FAD-9204-D3B939BD1F44}"/>
          </ac:spMkLst>
        </pc:spChg>
        <pc:spChg chg="add del mod">
          <ac:chgData name="Richerzhagen, Bjoern (T CED WLN-DE)" userId="1be7a072-4164-461c-b9ed-ae3c5d97c1a8" providerId="ADAL" clId="{A27AFCC7-D8F6-44BC-A001-AAF1884E580A}" dt="2022-03-01T12:34:48.548" v="4965" actId="478"/>
          <ac:spMkLst>
            <pc:docMk/>
            <pc:sldMk cId="1540424334" sldId="2147374017"/>
            <ac:spMk id="17" creationId="{FF471134-0DF8-4AE4-B876-7E9AAB2C2668}"/>
          </ac:spMkLst>
        </pc:spChg>
        <pc:spChg chg="add del mod">
          <ac:chgData name="Richerzhagen, Bjoern (T CED WLN-DE)" userId="1be7a072-4164-461c-b9ed-ae3c5d97c1a8" providerId="ADAL" clId="{A27AFCC7-D8F6-44BC-A001-AAF1884E580A}" dt="2022-03-01T12:34:47.407" v="4964" actId="478"/>
          <ac:spMkLst>
            <pc:docMk/>
            <pc:sldMk cId="1540424334" sldId="2147374017"/>
            <ac:spMk id="18" creationId="{9850CA99-3FA9-4FAD-9B97-B84D0BE0DA83}"/>
          </ac:spMkLst>
        </pc:spChg>
        <pc:spChg chg="add del mod">
          <ac:chgData name="Richerzhagen, Bjoern (T CED WLN-DE)" userId="1be7a072-4164-461c-b9ed-ae3c5d97c1a8" providerId="ADAL" clId="{A27AFCC7-D8F6-44BC-A001-AAF1884E580A}" dt="2022-03-01T12:34:45.377" v="4962" actId="478"/>
          <ac:spMkLst>
            <pc:docMk/>
            <pc:sldMk cId="1540424334" sldId="2147374017"/>
            <ac:spMk id="19" creationId="{F630A54A-F274-4A38-8D92-5951734D0EA2}"/>
          </ac:spMkLst>
        </pc:spChg>
        <pc:spChg chg="add mod topLvl">
          <ac:chgData name="Richerzhagen, Bjoern (T CED WLN-DE)" userId="1be7a072-4164-461c-b9ed-ae3c5d97c1a8" providerId="ADAL" clId="{A27AFCC7-D8F6-44BC-A001-AAF1884E580A}" dt="2022-03-01T15:16:07.730" v="7093" actId="1035"/>
          <ac:spMkLst>
            <pc:docMk/>
            <pc:sldMk cId="1540424334" sldId="2147374017"/>
            <ac:spMk id="22" creationId="{C1A09DEE-FA09-4CFA-9C1B-C9C8444485BC}"/>
          </ac:spMkLst>
        </pc:spChg>
        <pc:spChg chg="add mod topLvl">
          <ac:chgData name="Richerzhagen, Bjoern (T CED WLN-DE)" userId="1be7a072-4164-461c-b9ed-ae3c5d97c1a8" providerId="ADAL" clId="{A27AFCC7-D8F6-44BC-A001-AAF1884E580A}" dt="2022-03-01T15:16:07.730" v="7093" actId="1035"/>
          <ac:spMkLst>
            <pc:docMk/>
            <pc:sldMk cId="1540424334" sldId="2147374017"/>
            <ac:spMk id="23" creationId="{CFD751BB-DB3D-4218-B5A8-E0455E7D07DE}"/>
          </ac:spMkLst>
        </pc:spChg>
        <pc:spChg chg="add mod ord topLvl">
          <ac:chgData name="Richerzhagen, Bjoern (T CED WLN-DE)" userId="1be7a072-4164-461c-b9ed-ae3c5d97c1a8" providerId="ADAL" clId="{A27AFCC7-D8F6-44BC-A001-AAF1884E580A}" dt="2022-03-01T15:16:07.730" v="7093" actId="1035"/>
          <ac:spMkLst>
            <pc:docMk/>
            <pc:sldMk cId="1540424334" sldId="2147374017"/>
            <ac:spMk id="24" creationId="{959D54B6-B40A-4983-BE61-F6D6CBACF10A}"/>
          </ac:spMkLst>
        </pc:spChg>
        <pc:spChg chg="add del mod">
          <ac:chgData name="Richerzhagen, Bjoern (T CED WLN-DE)" userId="1be7a072-4164-461c-b9ed-ae3c5d97c1a8" providerId="ADAL" clId="{A27AFCC7-D8F6-44BC-A001-AAF1884E580A}" dt="2022-03-01T12:27:15.306" v="4848" actId="478"/>
          <ac:spMkLst>
            <pc:docMk/>
            <pc:sldMk cId="1540424334" sldId="2147374017"/>
            <ac:spMk id="25" creationId="{011C7A50-DBE2-4A6B-8514-299E0A3612E4}"/>
          </ac:spMkLst>
        </pc:spChg>
        <pc:spChg chg="add mod">
          <ac:chgData name="Richerzhagen, Bjoern (T CED WLN-DE)" userId="1be7a072-4164-461c-b9ed-ae3c5d97c1a8" providerId="ADAL" clId="{A27AFCC7-D8F6-44BC-A001-AAF1884E580A}" dt="2022-03-01T12:44:09.604" v="5061" actId="165"/>
          <ac:spMkLst>
            <pc:docMk/>
            <pc:sldMk cId="1540424334" sldId="2147374017"/>
            <ac:spMk id="27" creationId="{33B691F0-E246-4B02-B298-21031A798E3D}"/>
          </ac:spMkLst>
        </pc:spChg>
        <pc:spChg chg="mod">
          <ac:chgData name="Richerzhagen, Bjoern (T CED WLN-DE)" userId="1be7a072-4164-461c-b9ed-ae3c5d97c1a8" providerId="ADAL" clId="{A27AFCC7-D8F6-44BC-A001-AAF1884E580A}" dt="2022-03-01T12:31:38.181" v="4945" actId="207"/>
          <ac:spMkLst>
            <pc:docMk/>
            <pc:sldMk cId="1540424334" sldId="2147374017"/>
            <ac:spMk id="31" creationId="{32913CCE-5A86-44A0-A319-ECB3A5FCF02E}"/>
          </ac:spMkLst>
        </pc:spChg>
        <pc:spChg chg="mod">
          <ac:chgData name="Richerzhagen, Bjoern (T CED WLN-DE)" userId="1be7a072-4164-461c-b9ed-ae3c5d97c1a8" providerId="ADAL" clId="{A27AFCC7-D8F6-44BC-A001-AAF1884E580A}" dt="2022-03-01T12:44:09.604" v="5061" actId="165"/>
          <ac:spMkLst>
            <pc:docMk/>
            <pc:sldMk cId="1540424334" sldId="2147374017"/>
            <ac:spMk id="34" creationId="{EF73BA82-6AFB-43D1-9A51-C32DFFE9D774}"/>
          </ac:spMkLst>
        </pc:spChg>
        <pc:spChg chg="add mod">
          <ac:chgData name="Richerzhagen, Bjoern (T CED WLN-DE)" userId="1be7a072-4164-461c-b9ed-ae3c5d97c1a8" providerId="ADAL" clId="{A27AFCC7-D8F6-44BC-A001-AAF1884E580A}" dt="2022-03-02T08:28:08.461" v="11821" actId="1076"/>
          <ac:spMkLst>
            <pc:docMk/>
            <pc:sldMk cId="1540424334" sldId="2147374017"/>
            <ac:spMk id="35" creationId="{EE5A2C76-58D4-4A18-8C0F-EDE7662933EB}"/>
          </ac:spMkLst>
        </pc:spChg>
        <pc:spChg chg="add mod">
          <ac:chgData name="Richerzhagen, Bjoern (T CED WLN-DE)" userId="1be7a072-4164-461c-b9ed-ae3c5d97c1a8" providerId="ADAL" clId="{A27AFCC7-D8F6-44BC-A001-AAF1884E580A}" dt="2022-03-08T08:28:29.541" v="17807" actId="20577"/>
          <ac:spMkLst>
            <pc:docMk/>
            <pc:sldMk cId="1540424334" sldId="2147374017"/>
            <ac:spMk id="37" creationId="{B43F3B09-9823-45EC-8374-47FDD3986A7F}"/>
          </ac:spMkLst>
        </pc:spChg>
        <pc:spChg chg="add del mod topLvl">
          <ac:chgData name="Richerzhagen, Bjoern (T CED WLN-DE)" userId="1be7a072-4164-461c-b9ed-ae3c5d97c1a8" providerId="ADAL" clId="{A27AFCC7-D8F6-44BC-A001-AAF1884E580A}" dt="2022-03-08T12:04:21.636" v="38757" actId="478"/>
          <ac:spMkLst>
            <pc:docMk/>
            <pc:sldMk cId="1540424334" sldId="2147374017"/>
            <ac:spMk id="41" creationId="{EC973D73-FD4A-4FD2-9EDA-7EEC7B43D6C2}"/>
          </ac:spMkLst>
        </pc:spChg>
        <pc:spChg chg="add del mod topLvl">
          <ac:chgData name="Richerzhagen, Bjoern (T CED WLN-DE)" userId="1be7a072-4164-461c-b9ed-ae3c5d97c1a8" providerId="ADAL" clId="{A27AFCC7-D8F6-44BC-A001-AAF1884E580A}" dt="2022-03-08T12:04:20.719" v="38756" actId="478"/>
          <ac:spMkLst>
            <pc:docMk/>
            <pc:sldMk cId="1540424334" sldId="2147374017"/>
            <ac:spMk id="46" creationId="{72A0608F-75B4-4CAD-994C-DD8B4AD24F5E}"/>
          </ac:spMkLst>
        </pc:spChg>
        <pc:spChg chg="add del mod">
          <ac:chgData name="Richerzhagen, Bjoern (T CED WLN-DE)" userId="1be7a072-4164-461c-b9ed-ae3c5d97c1a8" providerId="ADAL" clId="{A27AFCC7-D8F6-44BC-A001-AAF1884E580A}" dt="2022-03-08T07:27:15.820" v="16820" actId="478"/>
          <ac:spMkLst>
            <pc:docMk/>
            <pc:sldMk cId="1540424334" sldId="2147374017"/>
            <ac:spMk id="49" creationId="{41D10FBB-61C4-42E2-AC9E-38C9208727AC}"/>
          </ac:spMkLst>
        </pc:spChg>
        <pc:spChg chg="add del mod">
          <ac:chgData name="Richerzhagen, Bjoern (T CED WLN-DE)" userId="1be7a072-4164-461c-b9ed-ae3c5d97c1a8" providerId="ADAL" clId="{A27AFCC7-D8F6-44BC-A001-AAF1884E580A}" dt="2022-03-01T12:40:11.809" v="5019" actId="478"/>
          <ac:spMkLst>
            <pc:docMk/>
            <pc:sldMk cId="1540424334" sldId="2147374017"/>
            <ac:spMk id="51" creationId="{22F9CBA8-DBCB-4160-9305-32C402C6F07E}"/>
          </ac:spMkLst>
        </pc:spChg>
        <pc:spChg chg="add mod ord">
          <ac:chgData name="Richerzhagen, Bjoern (T CED WLN-DE)" userId="1be7a072-4164-461c-b9ed-ae3c5d97c1a8" providerId="ADAL" clId="{A27AFCC7-D8F6-44BC-A001-AAF1884E580A}" dt="2022-03-08T07:29:00.025" v="16854" actId="1076"/>
          <ac:spMkLst>
            <pc:docMk/>
            <pc:sldMk cId="1540424334" sldId="2147374017"/>
            <ac:spMk id="51" creationId="{49FD0F80-98BD-4221-8E15-C7BCD4455951}"/>
          </ac:spMkLst>
        </pc:spChg>
        <pc:spChg chg="add mod topLvl">
          <ac:chgData name="Richerzhagen, Bjoern (T CED WLN-DE)" userId="1be7a072-4164-461c-b9ed-ae3c5d97c1a8" providerId="ADAL" clId="{A27AFCC7-D8F6-44BC-A001-AAF1884E580A}" dt="2022-03-01T15:16:07.730" v="7093" actId="1035"/>
          <ac:spMkLst>
            <pc:docMk/>
            <pc:sldMk cId="1540424334" sldId="2147374017"/>
            <ac:spMk id="52" creationId="{4AC64F96-B9FA-47CD-93C8-B4D2D27753DC}"/>
          </ac:spMkLst>
        </pc:spChg>
        <pc:spChg chg="add mod topLvl">
          <ac:chgData name="Richerzhagen, Bjoern (T CED WLN-DE)" userId="1be7a072-4164-461c-b9ed-ae3c5d97c1a8" providerId="ADAL" clId="{A27AFCC7-D8F6-44BC-A001-AAF1884E580A}" dt="2022-03-01T15:16:07.730" v="7093" actId="1035"/>
          <ac:spMkLst>
            <pc:docMk/>
            <pc:sldMk cId="1540424334" sldId="2147374017"/>
            <ac:spMk id="53" creationId="{C30079AC-876E-41C3-9E47-045261DB8F2E}"/>
          </ac:spMkLst>
        </pc:spChg>
        <pc:spChg chg="add mod topLvl">
          <ac:chgData name="Richerzhagen, Bjoern (T CED WLN-DE)" userId="1be7a072-4164-461c-b9ed-ae3c5d97c1a8" providerId="ADAL" clId="{A27AFCC7-D8F6-44BC-A001-AAF1884E580A}" dt="2022-03-01T15:16:07.730" v="7093" actId="1035"/>
          <ac:spMkLst>
            <pc:docMk/>
            <pc:sldMk cId="1540424334" sldId="2147374017"/>
            <ac:spMk id="54" creationId="{AA6C6DF3-7089-42CA-8C82-B073F3B125CB}"/>
          </ac:spMkLst>
        </pc:spChg>
        <pc:spChg chg="mod">
          <ac:chgData name="Richerzhagen, Bjoern (T CED WLN-DE)" userId="1be7a072-4164-461c-b9ed-ae3c5d97c1a8" providerId="ADAL" clId="{A27AFCC7-D8F6-44BC-A001-AAF1884E580A}" dt="2022-03-01T12:44:48.121" v="5071" actId="14100"/>
          <ac:spMkLst>
            <pc:docMk/>
            <pc:sldMk cId="1540424334" sldId="2147374017"/>
            <ac:spMk id="58" creationId="{F6A3C528-7439-46EB-B017-AF4394120395}"/>
          </ac:spMkLst>
        </pc:spChg>
        <pc:spChg chg="add mod">
          <ac:chgData name="Richerzhagen, Bjoern (T CED WLN-DE)" userId="1be7a072-4164-461c-b9ed-ae3c5d97c1a8" providerId="ADAL" clId="{A27AFCC7-D8F6-44BC-A001-AAF1884E580A}" dt="2022-03-01T15:16:07.730" v="7093" actId="1035"/>
          <ac:spMkLst>
            <pc:docMk/>
            <pc:sldMk cId="1540424334" sldId="2147374017"/>
            <ac:spMk id="59" creationId="{71E30D8D-D075-46F5-9FB5-C7FABB50313A}"/>
          </ac:spMkLst>
        </pc:spChg>
        <pc:spChg chg="add mod">
          <ac:chgData name="Richerzhagen, Bjoern (T CED WLN-DE)" userId="1be7a072-4164-461c-b9ed-ae3c5d97c1a8" providerId="ADAL" clId="{A27AFCC7-D8F6-44BC-A001-AAF1884E580A}" dt="2022-03-08T07:27:19.895" v="16827" actId="20577"/>
          <ac:spMkLst>
            <pc:docMk/>
            <pc:sldMk cId="1540424334" sldId="2147374017"/>
            <ac:spMk id="60" creationId="{0D5D55DC-B30C-4AA5-A1F0-A01901906720}"/>
          </ac:spMkLst>
        </pc:spChg>
        <pc:spChg chg="add del mod">
          <ac:chgData name="Richerzhagen, Bjoern (T CED WLN-DE)" userId="1be7a072-4164-461c-b9ed-ae3c5d97c1a8" providerId="ADAL" clId="{A27AFCC7-D8F6-44BC-A001-AAF1884E580A}" dt="2022-03-02T14:18:58.487" v="15254" actId="478"/>
          <ac:spMkLst>
            <pc:docMk/>
            <pc:sldMk cId="1540424334" sldId="2147374017"/>
            <ac:spMk id="60" creationId="{9F72EE73-58C1-46EB-AD66-8CF057683F97}"/>
          </ac:spMkLst>
        </pc:spChg>
        <pc:grpChg chg="add mod ord topLvl">
          <ac:chgData name="Richerzhagen, Bjoern (T CED WLN-DE)" userId="1be7a072-4164-461c-b9ed-ae3c5d97c1a8" providerId="ADAL" clId="{A27AFCC7-D8F6-44BC-A001-AAF1884E580A}" dt="2022-03-01T15:16:07.730" v="7093" actId="1035"/>
          <ac:grpSpMkLst>
            <pc:docMk/>
            <pc:sldMk cId="1540424334" sldId="2147374017"/>
            <ac:grpSpMk id="28" creationId="{C2490F70-8AF8-4AC9-BBFD-1B33D55E9F6F}"/>
          </ac:grpSpMkLst>
        </pc:grpChg>
        <pc:grpChg chg="add del mod">
          <ac:chgData name="Richerzhagen, Bjoern (T CED WLN-DE)" userId="1be7a072-4164-461c-b9ed-ae3c5d97c1a8" providerId="ADAL" clId="{A27AFCC7-D8F6-44BC-A001-AAF1884E580A}" dt="2022-03-01T12:31:55.542" v="4946" actId="478"/>
          <ac:grpSpMkLst>
            <pc:docMk/>
            <pc:sldMk cId="1540424334" sldId="2147374017"/>
            <ac:grpSpMk id="29" creationId="{0AD20443-2EDC-4A5E-864C-E86BF4B67657}"/>
          </ac:grpSpMkLst>
        </pc:grpChg>
        <pc:grpChg chg="add mod topLvl">
          <ac:chgData name="Richerzhagen, Bjoern (T CED WLN-DE)" userId="1be7a072-4164-461c-b9ed-ae3c5d97c1a8" providerId="ADAL" clId="{A27AFCC7-D8F6-44BC-A001-AAF1884E580A}" dt="2022-03-01T15:16:07.730" v="7093" actId="1035"/>
          <ac:grpSpMkLst>
            <pc:docMk/>
            <pc:sldMk cId="1540424334" sldId="2147374017"/>
            <ac:grpSpMk id="32" creationId="{5F7BFCAF-884B-4234-A19B-3107C920AB8A}"/>
          </ac:grpSpMkLst>
        </pc:grpChg>
        <pc:grpChg chg="add mod">
          <ac:chgData name="Richerzhagen, Bjoern (T CED WLN-DE)" userId="1be7a072-4164-461c-b9ed-ae3c5d97c1a8" providerId="ADAL" clId="{A27AFCC7-D8F6-44BC-A001-AAF1884E580A}" dt="2022-03-08T07:29:00.025" v="16854" actId="1076"/>
          <ac:grpSpMkLst>
            <pc:docMk/>
            <pc:sldMk cId="1540424334" sldId="2147374017"/>
            <ac:grpSpMk id="55" creationId="{33249153-64B1-491D-B7B5-34087DFBAAD0}"/>
          </ac:grpSpMkLst>
        </pc:grpChg>
        <pc:grpChg chg="add del mod">
          <ac:chgData name="Richerzhagen, Bjoern (T CED WLN-DE)" userId="1be7a072-4164-461c-b9ed-ae3c5d97c1a8" providerId="ADAL" clId="{A27AFCC7-D8F6-44BC-A001-AAF1884E580A}" dt="2022-03-01T12:44:09.604" v="5061" actId="165"/>
          <ac:grpSpMkLst>
            <pc:docMk/>
            <pc:sldMk cId="1540424334" sldId="2147374017"/>
            <ac:grpSpMk id="55" creationId="{42333E12-D3C3-4573-A2F2-A52ED7D5806D}"/>
          </ac:grpSpMkLst>
        </pc:grpChg>
        <pc:grpChg chg="add mod">
          <ac:chgData name="Richerzhagen, Bjoern (T CED WLN-DE)" userId="1be7a072-4164-461c-b9ed-ae3c5d97c1a8" providerId="ADAL" clId="{A27AFCC7-D8F6-44BC-A001-AAF1884E580A}" dt="2022-03-01T15:16:07.730" v="7093" actId="1035"/>
          <ac:grpSpMkLst>
            <pc:docMk/>
            <pc:sldMk cId="1540424334" sldId="2147374017"/>
            <ac:grpSpMk id="56" creationId="{341DAE09-7ADB-4A9E-9AE2-EA327D887F15}"/>
          </ac:grpSpMkLst>
        </pc:grpChg>
        <pc:picChg chg="add del mod">
          <ac:chgData name="Richerzhagen, Bjoern (T CED WLN-DE)" userId="1be7a072-4164-461c-b9ed-ae3c5d97c1a8" providerId="ADAL" clId="{A27AFCC7-D8F6-44BC-A001-AAF1884E580A}" dt="2022-03-02T14:18:57.470" v="15253" actId="478"/>
          <ac:picMkLst>
            <pc:docMk/>
            <pc:sldMk cId="1540424334" sldId="2147374017"/>
            <ac:picMk id="6" creationId="{9E756674-E04D-471A-8E1D-BCAE7D94520B}"/>
          </ac:picMkLst>
        </pc:picChg>
        <pc:picChg chg="add mod">
          <ac:chgData name="Richerzhagen, Bjoern (T CED WLN-DE)" userId="1be7a072-4164-461c-b9ed-ae3c5d97c1a8" providerId="ADAL" clId="{A27AFCC7-D8F6-44BC-A001-AAF1884E580A}" dt="2022-03-08T12:05:25.240" v="38772" actId="1076"/>
          <ac:picMkLst>
            <pc:docMk/>
            <pc:sldMk cId="1540424334" sldId="2147374017"/>
            <ac:picMk id="8" creationId="{91E32C59-4306-424D-B7DF-29CA71400DC0}"/>
          </ac:picMkLst>
        </pc:picChg>
        <pc:picChg chg="add mod">
          <ac:chgData name="Richerzhagen, Bjoern (T CED WLN-DE)" userId="1be7a072-4164-461c-b9ed-ae3c5d97c1a8" providerId="ADAL" clId="{A27AFCC7-D8F6-44BC-A001-AAF1884E580A}" dt="2022-03-08T12:05:29.322" v="38775" actId="1076"/>
          <ac:picMkLst>
            <pc:docMk/>
            <pc:sldMk cId="1540424334" sldId="2147374017"/>
            <ac:picMk id="17" creationId="{9A531B51-0000-4883-9ABD-3EAB5D7C3D82}"/>
          </ac:picMkLst>
        </pc:picChg>
        <pc:picChg chg="add mod">
          <ac:chgData name="Richerzhagen, Bjoern (T CED WLN-DE)" userId="1be7a072-4164-461c-b9ed-ae3c5d97c1a8" providerId="ADAL" clId="{A27AFCC7-D8F6-44BC-A001-AAF1884E580A}" dt="2022-03-08T07:28:15.740" v="16848" actId="1076"/>
          <ac:picMkLst>
            <pc:docMk/>
            <pc:sldMk cId="1540424334" sldId="2147374017"/>
            <ac:picMk id="19" creationId="{58E5FEF9-3F5D-4AB4-A1C3-FF1D53C37D27}"/>
          </ac:picMkLst>
        </pc:picChg>
        <pc:picChg chg="add mod">
          <ac:chgData name="Richerzhagen, Bjoern (T CED WLN-DE)" userId="1be7a072-4164-461c-b9ed-ae3c5d97c1a8" providerId="ADAL" clId="{A27AFCC7-D8F6-44BC-A001-AAF1884E580A}" dt="2022-03-08T12:05:30.315" v="38776" actId="1076"/>
          <ac:picMkLst>
            <pc:docMk/>
            <pc:sldMk cId="1540424334" sldId="2147374017"/>
            <ac:picMk id="21" creationId="{1AE378AC-7066-459A-BE77-00A310579DE4}"/>
          </ac:picMkLst>
        </pc:picChg>
        <pc:picChg chg="add mod">
          <ac:chgData name="Richerzhagen, Bjoern (T CED WLN-DE)" userId="1be7a072-4164-461c-b9ed-ae3c5d97c1a8" providerId="ADAL" clId="{A27AFCC7-D8F6-44BC-A001-AAF1884E580A}" dt="2022-03-01T12:44:09.604" v="5061" actId="165"/>
          <ac:picMkLst>
            <pc:docMk/>
            <pc:sldMk cId="1540424334" sldId="2147374017"/>
            <ac:picMk id="26" creationId="{116F5EBB-A698-448C-AE2D-5C2F6DFB29C9}"/>
          </ac:picMkLst>
        </pc:picChg>
        <pc:picChg chg="add mod">
          <ac:chgData name="Richerzhagen, Bjoern (T CED WLN-DE)" userId="1be7a072-4164-461c-b9ed-ae3c5d97c1a8" providerId="ADAL" clId="{A27AFCC7-D8F6-44BC-A001-AAF1884E580A}" dt="2022-03-08T12:05:31.513" v="38777" actId="1076"/>
          <ac:picMkLst>
            <pc:docMk/>
            <pc:sldMk cId="1540424334" sldId="2147374017"/>
            <ac:picMk id="29" creationId="{3B7E10A4-D779-428E-BA27-DBF3349682CD}"/>
          </ac:picMkLst>
        </pc:picChg>
        <pc:picChg chg="mod">
          <ac:chgData name="Richerzhagen, Bjoern (T CED WLN-DE)" userId="1be7a072-4164-461c-b9ed-ae3c5d97c1a8" providerId="ADAL" clId="{A27AFCC7-D8F6-44BC-A001-AAF1884E580A}" dt="2022-03-01T12:31:16.744" v="4943" actId="14100"/>
          <ac:picMkLst>
            <pc:docMk/>
            <pc:sldMk cId="1540424334" sldId="2147374017"/>
            <ac:picMk id="30" creationId="{F8FEB7DD-EFEF-4D3C-A0AD-F4FA025E6346}"/>
          </ac:picMkLst>
        </pc:picChg>
        <pc:picChg chg="add mod">
          <ac:chgData name="Richerzhagen, Bjoern (T CED WLN-DE)" userId="1be7a072-4164-461c-b9ed-ae3c5d97c1a8" providerId="ADAL" clId="{A27AFCC7-D8F6-44BC-A001-AAF1884E580A}" dt="2022-03-08T12:05:23.285" v="38771" actId="1037"/>
          <ac:picMkLst>
            <pc:docMk/>
            <pc:sldMk cId="1540424334" sldId="2147374017"/>
            <ac:picMk id="31" creationId="{C98B1122-5D67-4AAD-AF97-2EFB07BF1800}"/>
          </ac:picMkLst>
        </pc:picChg>
        <pc:picChg chg="mod">
          <ac:chgData name="Richerzhagen, Bjoern (T CED WLN-DE)" userId="1be7a072-4164-461c-b9ed-ae3c5d97c1a8" providerId="ADAL" clId="{A27AFCC7-D8F6-44BC-A001-AAF1884E580A}" dt="2022-03-01T12:44:09.604" v="5061" actId="165"/>
          <ac:picMkLst>
            <pc:docMk/>
            <pc:sldMk cId="1540424334" sldId="2147374017"/>
            <ac:picMk id="33" creationId="{AE897EE1-47EA-4530-AA47-463EBE394CE9}"/>
          </ac:picMkLst>
        </pc:picChg>
        <pc:picChg chg="add mod">
          <ac:chgData name="Richerzhagen, Bjoern (T CED WLN-DE)" userId="1be7a072-4164-461c-b9ed-ae3c5d97c1a8" providerId="ADAL" clId="{A27AFCC7-D8F6-44BC-A001-AAF1884E580A}" dt="2022-03-08T12:05:32.508" v="38778" actId="1076"/>
          <ac:picMkLst>
            <pc:docMk/>
            <pc:sldMk cId="1540424334" sldId="2147374017"/>
            <ac:picMk id="39" creationId="{E3BFF6EF-C8FA-4580-A860-346E25797F8E}"/>
          </ac:picMkLst>
        </pc:picChg>
        <pc:picChg chg="add mod">
          <ac:chgData name="Richerzhagen, Bjoern (T CED WLN-DE)" userId="1be7a072-4164-461c-b9ed-ae3c5d97c1a8" providerId="ADAL" clId="{A27AFCC7-D8F6-44BC-A001-AAF1884E580A}" dt="2022-03-08T12:05:26.614" v="38773" actId="1076"/>
          <ac:picMkLst>
            <pc:docMk/>
            <pc:sldMk cId="1540424334" sldId="2147374017"/>
            <ac:picMk id="44" creationId="{02D82395-4ED6-44F0-87A7-ED9CA98B5667}"/>
          </ac:picMkLst>
        </pc:picChg>
        <pc:picChg chg="add mod">
          <ac:chgData name="Richerzhagen, Bjoern (T CED WLN-DE)" userId="1be7a072-4164-461c-b9ed-ae3c5d97c1a8" providerId="ADAL" clId="{A27AFCC7-D8F6-44BC-A001-AAF1884E580A}" dt="2022-03-08T12:05:28.211" v="38774" actId="1076"/>
          <ac:picMkLst>
            <pc:docMk/>
            <pc:sldMk cId="1540424334" sldId="2147374017"/>
            <ac:picMk id="48" creationId="{905DD8B2-452A-4A03-BB64-10FF234978F5}"/>
          </ac:picMkLst>
        </pc:picChg>
        <pc:picChg chg="add mod">
          <ac:chgData name="Richerzhagen, Bjoern (T CED WLN-DE)" userId="1be7a072-4164-461c-b9ed-ae3c5d97c1a8" providerId="ADAL" clId="{A27AFCC7-D8F6-44BC-A001-AAF1884E580A}" dt="2022-03-08T12:05:33.624" v="38779" actId="1076"/>
          <ac:picMkLst>
            <pc:docMk/>
            <pc:sldMk cId="1540424334" sldId="2147374017"/>
            <ac:picMk id="50" creationId="{8254BA59-E133-4782-9EC9-1117B3AB24AC}"/>
          </ac:picMkLst>
        </pc:picChg>
        <pc:picChg chg="mod">
          <ac:chgData name="Richerzhagen, Bjoern (T CED WLN-DE)" userId="1be7a072-4164-461c-b9ed-ae3c5d97c1a8" providerId="ADAL" clId="{A27AFCC7-D8F6-44BC-A001-AAF1884E580A}" dt="2022-03-01T12:44:12.946" v="5062"/>
          <ac:picMkLst>
            <pc:docMk/>
            <pc:sldMk cId="1540424334" sldId="2147374017"/>
            <ac:picMk id="57" creationId="{6C8E5322-3621-44C3-AFEC-B72BA5796B20}"/>
          </ac:picMkLst>
        </pc:picChg>
        <pc:picChg chg="add del mod">
          <ac:chgData name="Richerzhagen, Bjoern (T CED WLN-DE)" userId="1be7a072-4164-461c-b9ed-ae3c5d97c1a8" providerId="ADAL" clId="{A27AFCC7-D8F6-44BC-A001-AAF1884E580A}" dt="2022-03-08T07:30:17.111" v="16864" actId="478"/>
          <ac:picMkLst>
            <pc:docMk/>
            <pc:sldMk cId="1540424334" sldId="2147374017"/>
            <ac:picMk id="61" creationId="{55E85F77-3935-461E-8882-261722002983}"/>
          </ac:picMkLst>
        </pc:picChg>
        <pc:picChg chg="add mod">
          <ac:chgData name="Richerzhagen, Bjoern (T CED WLN-DE)" userId="1be7a072-4164-461c-b9ed-ae3c5d97c1a8" providerId="ADAL" clId="{A27AFCC7-D8F6-44BC-A001-AAF1884E580A}" dt="2022-03-01T15:16:21.493" v="7094" actId="207"/>
          <ac:picMkLst>
            <pc:docMk/>
            <pc:sldMk cId="1540424334" sldId="2147374017"/>
            <ac:picMk id="62" creationId="{0596DC68-F7FB-4D62-A494-6654BD7AC578}"/>
          </ac:picMkLst>
        </pc:picChg>
        <pc:cxnChg chg="add mod ord">
          <ac:chgData name="Richerzhagen, Bjoern (T CED WLN-DE)" userId="1be7a072-4164-461c-b9ed-ae3c5d97c1a8" providerId="ADAL" clId="{A27AFCC7-D8F6-44BC-A001-AAF1884E580A}" dt="2022-03-07T09:35:42.569" v="16624" actId="1038"/>
          <ac:cxnSpMkLst>
            <pc:docMk/>
            <pc:sldMk cId="1540424334" sldId="2147374017"/>
            <ac:cxnSpMk id="3" creationId="{FECD3C47-1691-47B3-8C42-145C4A1B241B}"/>
          </ac:cxnSpMkLst>
        </pc:cxnChg>
        <pc:cxnChg chg="add del">
          <ac:chgData name="Richerzhagen, Bjoern (T CED WLN-DE)" userId="1be7a072-4164-461c-b9ed-ae3c5d97c1a8" providerId="ADAL" clId="{A27AFCC7-D8F6-44BC-A001-AAF1884E580A}" dt="2022-03-01T12:22:59.722" v="4798" actId="478"/>
          <ac:cxnSpMkLst>
            <pc:docMk/>
            <pc:sldMk cId="1540424334" sldId="2147374017"/>
            <ac:cxnSpMk id="21" creationId="{716D4CAF-800A-48AF-A4E3-45680EDE09BA}"/>
          </ac:cxnSpMkLst>
        </pc:cxnChg>
        <pc:cxnChg chg="add del mod topLvl">
          <ac:chgData name="Richerzhagen, Bjoern (T CED WLN-DE)" userId="1be7a072-4164-461c-b9ed-ae3c5d97c1a8" providerId="ADAL" clId="{A27AFCC7-D8F6-44BC-A001-AAF1884E580A}" dt="2022-03-08T12:04:36.916" v="38760" actId="478"/>
          <ac:cxnSpMkLst>
            <pc:docMk/>
            <pc:sldMk cId="1540424334" sldId="2147374017"/>
            <ac:cxnSpMk id="36" creationId="{C81099E0-D75F-4D2E-81E5-8A7B81FD79BF}"/>
          </ac:cxnSpMkLst>
        </pc:cxnChg>
        <pc:cxnChg chg="add mod topLvl">
          <ac:chgData name="Richerzhagen, Bjoern (T CED WLN-DE)" userId="1be7a072-4164-461c-b9ed-ae3c5d97c1a8" providerId="ADAL" clId="{A27AFCC7-D8F6-44BC-A001-AAF1884E580A}" dt="2022-03-01T15:16:07.730" v="7093" actId="1035"/>
          <ac:cxnSpMkLst>
            <pc:docMk/>
            <pc:sldMk cId="1540424334" sldId="2147374017"/>
            <ac:cxnSpMk id="40" creationId="{C4A52893-92C7-4CA7-A4DE-1F9CC9552F1B}"/>
          </ac:cxnSpMkLst>
        </pc:cxnChg>
        <pc:cxnChg chg="add del mod topLvl">
          <ac:chgData name="Richerzhagen, Bjoern (T CED WLN-DE)" userId="1be7a072-4164-461c-b9ed-ae3c5d97c1a8" providerId="ADAL" clId="{A27AFCC7-D8F6-44BC-A001-AAF1884E580A}" dt="2022-03-08T12:04:23.743" v="38759" actId="478"/>
          <ac:cxnSpMkLst>
            <pc:docMk/>
            <pc:sldMk cId="1540424334" sldId="2147374017"/>
            <ac:cxnSpMk id="42" creationId="{5B14A8DF-58B0-402E-BC6A-BB115092ADC0}"/>
          </ac:cxnSpMkLst>
        </pc:cxnChg>
        <pc:cxnChg chg="add del mod topLvl">
          <ac:chgData name="Richerzhagen, Bjoern (T CED WLN-DE)" userId="1be7a072-4164-461c-b9ed-ae3c5d97c1a8" providerId="ADAL" clId="{A27AFCC7-D8F6-44BC-A001-AAF1884E580A}" dt="2022-03-08T12:04:22.721" v="38758" actId="478"/>
          <ac:cxnSpMkLst>
            <pc:docMk/>
            <pc:sldMk cId="1540424334" sldId="2147374017"/>
            <ac:cxnSpMk id="47" creationId="{20DCBCAE-575C-4933-87AB-FFC34C68E05E}"/>
          </ac:cxnSpMkLst>
        </pc:cxnChg>
      </pc:sldChg>
      <pc:sldChg chg="add del">
        <pc:chgData name="Richerzhagen, Bjoern (T CED WLN-DE)" userId="1be7a072-4164-461c-b9ed-ae3c5d97c1a8" providerId="ADAL" clId="{A27AFCC7-D8F6-44BC-A001-AAF1884E580A}" dt="2022-03-01T12:51:44.907" v="5197" actId="47"/>
        <pc:sldMkLst>
          <pc:docMk/>
          <pc:sldMk cId="5052930" sldId="2147374018"/>
        </pc:sldMkLst>
      </pc:sldChg>
      <pc:sldChg chg="addSp delSp modSp new mod ord modShow chgLayout modNotes">
        <pc:chgData name="Richerzhagen, Bjoern (T CED WLN-DE)" userId="1be7a072-4164-461c-b9ed-ae3c5d97c1a8" providerId="ADAL" clId="{A27AFCC7-D8F6-44BC-A001-AAF1884E580A}" dt="2022-03-08T07:23:12.726" v="16795" actId="478"/>
        <pc:sldMkLst>
          <pc:docMk/>
          <pc:sldMk cId="2029863095" sldId="2147374018"/>
        </pc:sldMkLst>
        <pc:spChg chg="mod ord">
          <ac:chgData name="Richerzhagen, Bjoern (T CED WLN-DE)" userId="1be7a072-4164-461c-b9ed-ae3c5d97c1a8" providerId="ADAL" clId="{A27AFCC7-D8F6-44BC-A001-AAF1884E580A}" dt="2022-03-01T12:57:51.111" v="5561" actId="6264"/>
          <ac:spMkLst>
            <pc:docMk/>
            <pc:sldMk cId="2029863095" sldId="2147374018"/>
            <ac:spMk id="2" creationId="{9D41AE0C-FD28-4FCF-AC91-27EC04B98457}"/>
          </ac:spMkLst>
        </pc:spChg>
        <pc:spChg chg="mod ord">
          <ac:chgData name="Richerzhagen, Bjoern (T CED WLN-DE)" userId="1be7a072-4164-461c-b9ed-ae3c5d97c1a8" providerId="ADAL" clId="{A27AFCC7-D8F6-44BC-A001-AAF1884E580A}" dt="2022-03-02T14:12:02.917" v="15188" actId="20577"/>
          <ac:spMkLst>
            <pc:docMk/>
            <pc:sldMk cId="2029863095" sldId="2147374018"/>
            <ac:spMk id="3" creationId="{AC8186C9-63CA-49E7-9936-9888FE07E73D}"/>
          </ac:spMkLst>
        </pc:spChg>
        <pc:spChg chg="add del mod">
          <ac:chgData name="Richerzhagen, Bjoern (T CED WLN-DE)" userId="1be7a072-4164-461c-b9ed-ae3c5d97c1a8" providerId="ADAL" clId="{A27AFCC7-D8F6-44BC-A001-AAF1884E580A}" dt="2022-03-08T07:23:11.853" v="16794" actId="478"/>
          <ac:spMkLst>
            <pc:docMk/>
            <pc:sldMk cId="2029863095" sldId="2147374018"/>
            <ac:spMk id="4" creationId="{E0BC37CB-F792-4E31-8D13-6D07FFE314E4}"/>
          </ac:spMkLst>
        </pc:spChg>
        <pc:spChg chg="add del mod">
          <ac:chgData name="Richerzhagen, Bjoern (T CED WLN-DE)" userId="1be7a072-4164-461c-b9ed-ae3c5d97c1a8" providerId="ADAL" clId="{A27AFCC7-D8F6-44BC-A001-AAF1884E580A}" dt="2022-03-08T07:23:12.726" v="16795" actId="478"/>
          <ac:spMkLst>
            <pc:docMk/>
            <pc:sldMk cId="2029863095" sldId="2147374018"/>
            <ac:spMk id="5" creationId="{06BBEE4C-B890-4D9F-9025-1112531C7F87}"/>
          </ac:spMkLst>
        </pc:spChg>
        <pc:spChg chg="add del mod">
          <ac:chgData name="Richerzhagen, Bjoern (T CED WLN-DE)" userId="1be7a072-4164-461c-b9ed-ae3c5d97c1a8" providerId="ADAL" clId="{A27AFCC7-D8F6-44BC-A001-AAF1884E580A}" dt="2022-03-01T12:57:51.111" v="5561" actId="6264"/>
          <ac:spMkLst>
            <pc:docMk/>
            <pc:sldMk cId="2029863095" sldId="2147374018"/>
            <ac:spMk id="5" creationId="{90ED49DD-19B2-4B06-8A14-765178089B77}"/>
          </ac:spMkLst>
        </pc:spChg>
        <pc:spChg chg="add del mod">
          <ac:chgData name="Richerzhagen, Bjoern (T CED WLN-DE)" userId="1be7a072-4164-461c-b9ed-ae3c5d97c1a8" providerId="ADAL" clId="{A27AFCC7-D8F6-44BC-A001-AAF1884E580A}" dt="2022-03-01T12:57:51.111" v="5561" actId="6264"/>
          <ac:spMkLst>
            <pc:docMk/>
            <pc:sldMk cId="2029863095" sldId="2147374018"/>
            <ac:spMk id="6" creationId="{25A5B82B-0DE2-4D8C-8626-58533798461B}"/>
          </ac:spMkLst>
        </pc:spChg>
        <pc:picChg chg="add del mod">
          <ac:chgData name="Richerzhagen, Bjoern (T CED WLN-DE)" userId="1be7a072-4164-461c-b9ed-ae3c5d97c1a8" providerId="ADAL" clId="{A27AFCC7-D8F6-44BC-A001-AAF1884E580A}" dt="2022-03-01T12:57:40.638" v="5560" actId="478"/>
          <ac:picMkLst>
            <pc:docMk/>
            <pc:sldMk cId="2029863095" sldId="2147374018"/>
            <ac:picMk id="4" creationId="{9FA3FA62-F6B5-4CB6-AF10-88EB6947EBCF}"/>
          </ac:picMkLst>
        </pc:picChg>
        <pc:picChg chg="add mod">
          <ac:chgData name="Richerzhagen, Bjoern (T CED WLN-DE)" userId="1be7a072-4164-461c-b9ed-ae3c5d97c1a8" providerId="ADAL" clId="{A27AFCC7-D8F6-44BC-A001-AAF1884E580A}" dt="2022-03-02T14:29:58.780" v="15477" actId="1076"/>
          <ac:picMkLst>
            <pc:docMk/>
            <pc:sldMk cId="2029863095" sldId="2147374018"/>
            <ac:picMk id="6" creationId="{0EE94D8D-C830-4D9B-B8CD-D22D063CD0A2}"/>
          </ac:picMkLst>
        </pc:picChg>
      </pc:sldChg>
      <pc:sldChg chg="addSp delSp modSp new mod ord modShow chgLayout modNotes">
        <pc:chgData name="Richerzhagen, Bjoern (T CED WLN-DE)" userId="1be7a072-4164-461c-b9ed-ae3c5d97c1a8" providerId="ADAL" clId="{A27AFCC7-D8F6-44BC-A001-AAF1884E580A}" dt="2022-03-02T14:15:28.682" v="15228" actId="729"/>
        <pc:sldMkLst>
          <pc:docMk/>
          <pc:sldMk cId="778955014" sldId="2147374019"/>
        </pc:sldMkLst>
        <pc:spChg chg="del">
          <ac:chgData name="Richerzhagen, Bjoern (T CED WLN-DE)" userId="1be7a072-4164-461c-b9ed-ae3c5d97c1a8" providerId="ADAL" clId="{A27AFCC7-D8F6-44BC-A001-AAF1884E580A}" dt="2022-03-01T13:11:40.375" v="5698" actId="700"/>
          <ac:spMkLst>
            <pc:docMk/>
            <pc:sldMk cId="778955014" sldId="2147374019"/>
            <ac:spMk id="2" creationId="{D8D6C095-33AB-4F62-9766-EAC4A6A6D0E7}"/>
          </ac:spMkLst>
        </pc:spChg>
        <pc:spChg chg="del">
          <ac:chgData name="Richerzhagen, Bjoern (T CED WLN-DE)" userId="1be7a072-4164-461c-b9ed-ae3c5d97c1a8" providerId="ADAL" clId="{A27AFCC7-D8F6-44BC-A001-AAF1884E580A}" dt="2022-03-01T13:11:40.375" v="5698" actId="700"/>
          <ac:spMkLst>
            <pc:docMk/>
            <pc:sldMk cId="778955014" sldId="2147374019"/>
            <ac:spMk id="3" creationId="{915688CF-DB48-42FA-9434-69949EE8D285}"/>
          </ac:spMkLst>
        </pc:spChg>
        <pc:spChg chg="add del mod">
          <ac:chgData name="Richerzhagen, Bjoern (T CED WLN-DE)" userId="1be7a072-4164-461c-b9ed-ae3c5d97c1a8" providerId="ADAL" clId="{A27AFCC7-D8F6-44BC-A001-AAF1884E580A}" dt="2022-03-01T13:10:52.781" v="5688"/>
          <ac:spMkLst>
            <pc:docMk/>
            <pc:sldMk cId="778955014" sldId="2147374019"/>
            <ac:spMk id="4" creationId="{76BD411D-EE62-4BCC-A487-C5B2EBFB0473}"/>
          </ac:spMkLst>
        </pc:spChg>
        <pc:spChg chg="mod">
          <ac:chgData name="Richerzhagen, Bjoern (T CED WLN-DE)" userId="1be7a072-4164-461c-b9ed-ae3c5d97c1a8" providerId="ADAL" clId="{A27AFCC7-D8F6-44BC-A001-AAF1884E580A}" dt="2022-03-01T13:10:48.221" v="5687"/>
          <ac:spMkLst>
            <pc:docMk/>
            <pc:sldMk cId="778955014" sldId="2147374019"/>
            <ac:spMk id="11" creationId="{3EDE3FD5-63A2-41ED-A8BE-06AE38F6AAF3}"/>
          </ac:spMkLst>
        </pc:spChg>
        <pc:spChg chg="mod">
          <ac:chgData name="Richerzhagen, Bjoern (T CED WLN-DE)" userId="1be7a072-4164-461c-b9ed-ae3c5d97c1a8" providerId="ADAL" clId="{A27AFCC7-D8F6-44BC-A001-AAF1884E580A}" dt="2022-03-01T13:10:48.221" v="5687"/>
          <ac:spMkLst>
            <pc:docMk/>
            <pc:sldMk cId="778955014" sldId="2147374019"/>
            <ac:spMk id="12" creationId="{EBBFB13F-AB2A-4CDA-8A7A-46D58783D50B}"/>
          </ac:spMkLst>
        </pc:spChg>
        <pc:spChg chg="mod">
          <ac:chgData name="Richerzhagen, Bjoern (T CED WLN-DE)" userId="1be7a072-4164-461c-b9ed-ae3c5d97c1a8" providerId="ADAL" clId="{A27AFCC7-D8F6-44BC-A001-AAF1884E580A}" dt="2022-03-01T13:10:48.221" v="5687"/>
          <ac:spMkLst>
            <pc:docMk/>
            <pc:sldMk cId="778955014" sldId="2147374019"/>
            <ac:spMk id="13" creationId="{02DE4301-C586-4FA3-9D16-4D3314890D0B}"/>
          </ac:spMkLst>
        </pc:spChg>
        <pc:spChg chg="add del mod">
          <ac:chgData name="Richerzhagen, Bjoern (T CED WLN-DE)" userId="1be7a072-4164-461c-b9ed-ae3c5d97c1a8" providerId="ADAL" clId="{A27AFCC7-D8F6-44BC-A001-AAF1884E580A}" dt="2022-03-01T13:10:52.781" v="5688"/>
          <ac:spMkLst>
            <pc:docMk/>
            <pc:sldMk cId="778955014" sldId="2147374019"/>
            <ac:spMk id="17" creationId="{7609DEFF-EB65-4FC5-B3EC-9342B0929432}"/>
          </ac:spMkLst>
        </pc:spChg>
        <pc:spChg chg="add del mod">
          <ac:chgData name="Richerzhagen, Bjoern (T CED WLN-DE)" userId="1be7a072-4164-461c-b9ed-ae3c5d97c1a8" providerId="ADAL" clId="{A27AFCC7-D8F6-44BC-A001-AAF1884E580A}" dt="2022-03-01T13:10:52.781" v="5688"/>
          <ac:spMkLst>
            <pc:docMk/>
            <pc:sldMk cId="778955014" sldId="2147374019"/>
            <ac:spMk id="18" creationId="{B97D3E58-4453-4406-9136-17F2FFFA07C4}"/>
          </ac:spMkLst>
        </pc:spChg>
        <pc:spChg chg="mod">
          <ac:chgData name="Richerzhagen, Bjoern (T CED WLN-DE)" userId="1be7a072-4164-461c-b9ed-ae3c5d97c1a8" providerId="ADAL" clId="{A27AFCC7-D8F6-44BC-A001-AAF1884E580A}" dt="2022-03-01T13:10:48.221" v="5687"/>
          <ac:spMkLst>
            <pc:docMk/>
            <pc:sldMk cId="778955014" sldId="2147374019"/>
            <ac:spMk id="20" creationId="{8065C789-5A34-4D85-949C-D3BB81FCA56F}"/>
          </ac:spMkLst>
        </pc:spChg>
        <pc:spChg chg="mod">
          <ac:chgData name="Richerzhagen, Bjoern (T CED WLN-DE)" userId="1be7a072-4164-461c-b9ed-ae3c5d97c1a8" providerId="ADAL" clId="{A27AFCC7-D8F6-44BC-A001-AAF1884E580A}" dt="2022-03-01T13:10:48.221" v="5687"/>
          <ac:spMkLst>
            <pc:docMk/>
            <pc:sldMk cId="778955014" sldId="2147374019"/>
            <ac:spMk id="21" creationId="{311539CB-3AA0-4773-939D-5F31629E3A6A}"/>
          </ac:spMkLst>
        </pc:spChg>
        <pc:spChg chg="mod">
          <ac:chgData name="Richerzhagen, Bjoern (T CED WLN-DE)" userId="1be7a072-4164-461c-b9ed-ae3c5d97c1a8" providerId="ADAL" clId="{A27AFCC7-D8F6-44BC-A001-AAF1884E580A}" dt="2022-03-01T13:10:48.221" v="5687"/>
          <ac:spMkLst>
            <pc:docMk/>
            <pc:sldMk cId="778955014" sldId="2147374019"/>
            <ac:spMk id="22" creationId="{C91AEC1B-201C-4012-A55A-D73B59BC6F12}"/>
          </ac:spMkLst>
        </pc:spChg>
        <pc:spChg chg="add del mod">
          <ac:chgData name="Richerzhagen, Bjoern (T CED WLN-DE)" userId="1be7a072-4164-461c-b9ed-ae3c5d97c1a8" providerId="ADAL" clId="{A27AFCC7-D8F6-44BC-A001-AAF1884E580A}" dt="2022-03-01T13:10:52.781" v="5688"/>
          <ac:spMkLst>
            <pc:docMk/>
            <pc:sldMk cId="778955014" sldId="2147374019"/>
            <ac:spMk id="26" creationId="{FCFF5197-CAAF-4937-BB10-4E3EA7C49115}"/>
          </ac:spMkLst>
        </pc:spChg>
        <pc:spChg chg="add del mod">
          <ac:chgData name="Richerzhagen, Bjoern (T CED WLN-DE)" userId="1be7a072-4164-461c-b9ed-ae3c5d97c1a8" providerId="ADAL" clId="{A27AFCC7-D8F6-44BC-A001-AAF1884E580A}" dt="2022-03-01T13:10:52.781" v="5688"/>
          <ac:spMkLst>
            <pc:docMk/>
            <pc:sldMk cId="778955014" sldId="2147374019"/>
            <ac:spMk id="33" creationId="{E1F83170-3B61-4770-98B2-9C660427DF11}"/>
          </ac:spMkLst>
        </pc:spChg>
        <pc:spChg chg="add del mod">
          <ac:chgData name="Richerzhagen, Bjoern (T CED WLN-DE)" userId="1be7a072-4164-461c-b9ed-ae3c5d97c1a8" providerId="ADAL" clId="{A27AFCC7-D8F6-44BC-A001-AAF1884E580A}" dt="2022-03-01T13:10:52.781" v="5688"/>
          <ac:spMkLst>
            <pc:docMk/>
            <pc:sldMk cId="778955014" sldId="2147374019"/>
            <ac:spMk id="34" creationId="{5105EB29-1D75-4FF7-B290-F8FABCDFEDF1}"/>
          </ac:spMkLst>
        </pc:spChg>
        <pc:spChg chg="add mod">
          <ac:chgData name="Richerzhagen, Bjoern (T CED WLN-DE)" userId="1be7a072-4164-461c-b9ed-ae3c5d97c1a8" providerId="ADAL" clId="{A27AFCC7-D8F6-44BC-A001-AAF1884E580A}" dt="2022-03-01T13:10:54.627" v="5689"/>
          <ac:spMkLst>
            <pc:docMk/>
            <pc:sldMk cId="778955014" sldId="2147374019"/>
            <ac:spMk id="42" creationId="{70A9F29B-DD4F-42A6-9957-5C77B3B31A84}"/>
          </ac:spMkLst>
        </pc:spChg>
        <pc:spChg chg="mod">
          <ac:chgData name="Richerzhagen, Bjoern (T CED WLN-DE)" userId="1be7a072-4164-461c-b9ed-ae3c5d97c1a8" providerId="ADAL" clId="{A27AFCC7-D8F6-44BC-A001-AAF1884E580A}" dt="2022-03-01T13:10:54.627" v="5689"/>
          <ac:spMkLst>
            <pc:docMk/>
            <pc:sldMk cId="778955014" sldId="2147374019"/>
            <ac:spMk id="49" creationId="{FA78E77F-8CA6-46BB-A03F-A8727C84468A}"/>
          </ac:spMkLst>
        </pc:spChg>
        <pc:spChg chg="mod">
          <ac:chgData name="Richerzhagen, Bjoern (T CED WLN-DE)" userId="1be7a072-4164-461c-b9ed-ae3c5d97c1a8" providerId="ADAL" clId="{A27AFCC7-D8F6-44BC-A001-AAF1884E580A}" dt="2022-03-01T13:21:47.758" v="5876" actId="1038"/>
          <ac:spMkLst>
            <pc:docMk/>
            <pc:sldMk cId="778955014" sldId="2147374019"/>
            <ac:spMk id="50" creationId="{C6CFFDC4-13B3-4815-B079-8F771B55583C}"/>
          </ac:spMkLst>
        </pc:spChg>
        <pc:spChg chg="mod">
          <ac:chgData name="Richerzhagen, Bjoern (T CED WLN-DE)" userId="1be7a072-4164-461c-b9ed-ae3c5d97c1a8" providerId="ADAL" clId="{A27AFCC7-D8F6-44BC-A001-AAF1884E580A}" dt="2022-03-01T13:10:54.627" v="5689"/>
          <ac:spMkLst>
            <pc:docMk/>
            <pc:sldMk cId="778955014" sldId="2147374019"/>
            <ac:spMk id="51" creationId="{44ABCE2A-1542-4078-836C-81F2707027E8}"/>
          </ac:spMkLst>
        </pc:spChg>
        <pc:spChg chg="add mod">
          <ac:chgData name="Richerzhagen, Bjoern (T CED WLN-DE)" userId="1be7a072-4164-461c-b9ed-ae3c5d97c1a8" providerId="ADAL" clId="{A27AFCC7-D8F6-44BC-A001-AAF1884E580A}" dt="2022-03-01T13:22:20.205" v="5949" actId="1076"/>
          <ac:spMkLst>
            <pc:docMk/>
            <pc:sldMk cId="778955014" sldId="2147374019"/>
            <ac:spMk id="55" creationId="{85EEBA76-DC44-4D0F-AA41-4B0DB6AA4BBD}"/>
          </ac:spMkLst>
        </pc:spChg>
        <pc:spChg chg="add mod">
          <ac:chgData name="Richerzhagen, Bjoern (T CED WLN-DE)" userId="1be7a072-4164-461c-b9ed-ae3c5d97c1a8" providerId="ADAL" clId="{A27AFCC7-D8F6-44BC-A001-AAF1884E580A}" dt="2022-03-01T13:22:04.546" v="5946" actId="1076"/>
          <ac:spMkLst>
            <pc:docMk/>
            <pc:sldMk cId="778955014" sldId="2147374019"/>
            <ac:spMk id="56" creationId="{1EA3D97B-B1C8-4808-A364-D655CD5365F7}"/>
          </ac:spMkLst>
        </pc:spChg>
        <pc:spChg chg="mod">
          <ac:chgData name="Richerzhagen, Bjoern (T CED WLN-DE)" userId="1be7a072-4164-461c-b9ed-ae3c5d97c1a8" providerId="ADAL" clId="{A27AFCC7-D8F6-44BC-A001-AAF1884E580A}" dt="2022-03-01T13:21:54.867" v="5909" actId="1038"/>
          <ac:spMkLst>
            <pc:docMk/>
            <pc:sldMk cId="778955014" sldId="2147374019"/>
            <ac:spMk id="58" creationId="{785A10AB-7F16-4EA1-88FB-5E4162B75525}"/>
          </ac:spMkLst>
        </pc:spChg>
        <pc:spChg chg="mod">
          <ac:chgData name="Richerzhagen, Bjoern (T CED WLN-DE)" userId="1be7a072-4164-461c-b9ed-ae3c5d97c1a8" providerId="ADAL" clId="{A27AFCC7-D8F6-44BC-A001-AAF1884E580A}" dt="2022-03-01T13:22:00.954" v="5945" actId="1037"/>
          <ac:spMkLst>
            <pc:docMk/>
            <pc:sldMk cId="778955014" sldId="2147374019"/>
            <ac:spMk id="59" creationId="{734CE8EC-7959-45EA-8075-EF19CA0F03E1}"/>
          </ac:spMkLst>
        </pc:spChg>
        <pc:spChg chg="mod">
          <ac:chgData name="Richerzhagen, Bjoern (T CED WLN-DE)" userId="1be7a072-4164-461c-b9ed-ae3c5d97c1a8" providerId="ADAL" clId="{A27AFCC7-D8F6-44BC-A001-AAF1884E580A}" dt="2022-03-01T13:12:47.162" v="5704" actId="208"/>
          <ac:spMkLst>
            <pc:docMk/>
            <pc:sldMk cId="778955014" sldId="2147374019"/>
            <ac:spMk id="60" creationId="{0D332166-4974-4F4F-91A6-E3B8D45E8C2F}"/>
          </ac:spMkLst>
        </pc:spChg>
        <pc:spChg chg="add del mod">
          <ac:chgData name="Richerzhagen, Bjoern (T CED WLN-DE)" userId="1be7a072-4164-461c-b9ed-ae3c5d97c1a8" providerId="ADAL" clId="{A27AFCC7-D8F6-44BC-A001-AAF1884E580A}" dt="2022-03-01T13:12:25.035" v="5701" actId="478"/>
          <ac:spMkLst>
            <pc:docMk/>
            <pc:sldMk cId="778955014" sldId="2147374019"/>
            <ac:spMk id="64" creationId="{CB61B495-25EA-4E3E-89A1-D84E8CCBD018}"/>
          </ac:spMkLst>
        </pc:spChg>
        <pc:spChg chg="add mod">
          <ac:chgData name="Richerzhagen, Bjoern (T CED WLN-DE)" userId="1be7a072-4164-461c-b9ed-ae3c5d97c1a8" providerId="ADAL" clId="{A27AFCC7-D8F6-44BC-A001-AAF1884E580A}" dt="2022-03-01T13:10:54.627" v="5689"/>
          <ac:spMkLst>
            <pc:docMk/>
            <pc:sldMk cId="778955014" sldId="2147374019"/>
            <ac:spMk id="71" creationId="{7D15F423-6884-43C4-8716-E183662662BF}"/>
          </ac:spMkLst>
        </pc:spChg>
        <pc:spChg chg="add mod">
          <ac:chgData name="Richerzhagen, Bjoern (T CED WLN-DE)" userId="1be7a072-4164-461c-b9ed-ae3c5d97c1a8" providerId="ADAL" clId="{A27AFCC7-D8F6-44BC-A001-AAF1884E580A}" dt="2022-03-01T13:10:54.627" v="5689"/>
          <ac:spMkLst>
            <pc:docMk/>
            <pc:sldMk cId="778955014" sldId="2147374019"/>
            <ac:spMk id="72" creationId="{0FA7A6A0-823A-4879-A0EE-FC138B31D1D5}"/>
          </ac:spMkLst>
        </pc:spChg>
        <pc:grpChg chg="add del mod">
          <ac:chgData name="Richerzhagen, Bjoern (T CED WLN-DE)" userId="1be7a072-4164-461c-b9ed-ae3c5d97c1a8" providerId="ADAL" clId="{A27AFCC7-D8F6-44BC-A001-AAF1884E580A}" dt="2022-03-01T13:10:52.781" v="5688"/>
          <ac:grpSpMkLst>
            <pc:docMk/>
            <pc:sldMk cId="778955014" sldId="2147374019"/>
            <ac:grpSpMk id="10" creationId="{98ACECF4-29D1-439B-96FB-A6F3F398E04D}"/>
          </ac:grpSpMkLst>
        </pc:grpChg>
        <pc:grpChg chg="add del mod">
          <ac:chgData name="Richerzhagen, Bjoern (T CED WLN-DE)" userId="1be7a072-4164-461c-b9ed-ae3c5d97c1a8" providerId="ADAL" clId="{A27AFCC7-D8F6-44BC-A001-AAF1884E580A}" dt="2022-03-01T13:10:52.781" v="5688"/>
          <ac:grpSpMkLst>
            <pc:docMk/>
            <pc:sldMk cId="778955014" sldId="2147374019"/>
            <ac:grpSpMk id="19" creationId="{BE80DB32-F0C4-4F2D-BE7E-D5D6812C0ADF}"/>
          </ac:grpSpMkLst>
        </pc:grpChg>
        <pc:grpChg chg="add mod">
          <ac:chgData name="Richerzhagen, Bjoern (T CED WLN-DE)" userId="1be7a072-4164-461c-b9ed-ae3c5d97c1a8" providerId="ADAL" clId="{A27AFCC7-D8F6-44BC-A001-AAF1884E580A}" dt="2022-03-01T13:10:54.627" v="5689"/>
          <ac:grpSpMkLst>
            <pc:docMk/>
            <pc:sldMk cId="778955014" sldId="2147374019"/>
            <ac:grpSpMk id="48" creationId="{DBD9F348-FDAE-4EC3-B164-15DF1712B6A1}"/>
          </ac:grpSpMkLst>
        </pc:grpChg>
        <pc:grpChg chg="add mod">
          <ac:chgData name="Richerzhagen, Bjoern (T CED WLN-DE)" userId="1be7a072-4164-461c-b9ed-ae3c5d97c1a8" providerId="ADAL" clId="{A27AFCC7-D8F6-44BC-A001-AAF1884E580A}" dt="2022-03-01T13:10:54.627" v="5689"/>
          <ac:grpSpMkLst>
            <pc:docMk/>
            <pc:sldMk cId="778955014" sldId="2147374019"/>
            <ac:grpSpMk id="57" creationId="{0C61E640-B3B2-4796-8669-263BEC7C0173}"/>
          </ac:grpSpMkLst>
        </pc:grpChg>
        <pc:graphicFrameChg chg="add del mod">
          <ac:chgData name="Richerzhagen, Bjoern (T CED WLN-DE)" userId="1be7a072-4164-461c-b9ed-ae3c5d97c1a8" providerId="ADAL" clId="{A27AFCC7-D8F6-44BC-A001-AAF1884E580A}" dt="2022-03-01T13:10:52.781" v="5688"/>
          <ac:graphicFrameMkLst>
            <pc:docMk/>
            <pc:sldMk cId="778955014" sldId="2147374019"/>
            <ac:graphicFrameMk id="5" creationId="{2DB6B162-A8C6-40C3-9D37-2FDB752D4F95}"/>
          </ac:graphicFrameMkLst>
        </pc:graphicFrameChg>
        <pc:graphicFrameChg chg="add del mod">
          <ac:chgData name="Richerzhagen, Bjoern (T CED WLN-DE)" userId="1be7a072-4164-461c-b9ed-ae3c5d97c1a8" providerId="ADAL" clId="{A27AFCC7-D8F6-44BC-A001-AAF1884E580A}" dt="2022-03-01T13:10:52.781" v="5688"/>
          <ac:graphicFrameMkLst>
            <pc:docMk/>
            <pc:sldMk cId="778955014" sldId="2147374019"/>
            <ac:graphicFrameMk id="6" creationId="{8862F6D3-0E82-450D-9864-01614027044B}"/>
          </ac:graphicFrameMkLst>
        </pc:graphicFrameChg>
        <pc:graphicFrameChg chg="add del mod">
          <ac:chgData name="Richerzhagen, Bjoern (T CED WLN-DE)" userId="1be7a072-4164-461c-b9ed-ae3c5d97c1a8" providerId="ADAL" clId="{A27AFCC7-D8F6-44BC-A001-AAF1884E580A}" dt="2022-03-01T13:10:52.781" v="5688"/>
          <ac:graphicFrameMkLst>
            <pc:docMk/>
            <pc:sldMk cId="778955014" sldId="2147374019"/>
            <ac:graphicFrameMk id="7" creationId="{B057AD38-C7CA-41AF-982B-0DB65A212E6A}"/>
          </ac:graphicFrameMkLst>
        </pc:graphicFrameChg>
        <pc:graphicFrameChg chg="add del mod">
          <ac:chgData name="Richerzhagen, Bjoern (T CED WLN-DE)" userId="1be7a072-4164-461c-b9ed-ae3c5d97c1a8" providerId="ADAL" clId="{A27AFCC7-D8F6-44BC-A001-AAF1884E580A}" dt="2022-03-01T13:10:52.781" v="5688"/>
          <ac:graphicFrameMkLst>
            <pc:docMk/>
            <pc:sldMk cId="778955014" sldId="2147374019"/>
            <ac:graphicFrameMk id="8" creationId="{3B74ED6A-B553-43F3-9B36-3F4472640949}"/>
          </ac:graphicFrameMkLst>
        </pc:graphicFrameChg>
        <pc:graphicFrameChg chg="add del mod">
          <ac:chgData name="Richerzhagen, Bjoern (T CED WLN-DE)" userId="1be7a072-4164-461c-b9ed-ae3c5d97c1a8" providerId="ADAL" clId="{A27AFCC7-D8F6-44BC-A001-AAF1884E580A}" dt="2022-03-01T13:10:52.781" v="5688"/>
          <ac:graphicFrameMkLst>
            <pc:docMk/>
            <pc:sldMk cId="778955014" sldId="2147374019"/>
            <ac:graphicFrameMk id="9" creationId="{05B684F9-4DB8-4186-9BA8-B7B0D460624D}"/>
          </ac:graphicFrameMkLst>
        </pc:graphicFrameChg>
        <pc:graphicFrameChg chg="add mod modGraphic">
          <ac:chgData name="Richerzhagen, Bjoern (T CED WLN-DE)" userId="1be7a072-4164-461c-b9ed-ae3c5d97c1a8" providerId="ADAL" clId="{A27AFCC7-D8F6-44BC-A001-AAF1884E580A}" dt="2022-03-01T13:11:49.265" v="5700" actId="207"/>
          <ac:graphicFrameMkLst>
            <pc:docMk/>
            <pc:sldMk cId="778955014" sldId="2147374019"/>
            <ac:graphicFrameMk id="43" creationId="{3C6F5133-177B-4E89-9B6E-57A741303A5F}"/>
          </ac:graphicFrameMkLst>
        </pc:graphicFrameChg>
        <pc:graphicFrameChg chg="add mod">
          <ac:chgData name="Richerzhagen, Bjoern (T CED WLN-DE)" userId="1be7a072-4164-461c-b9ed-ae3c5d97c1a8" providerId="ADAL" clId="{A27AFCC7-D8F6-44BC-A001-AAF1884E580A}" dt="2022-03-01T13:10:54.627" v="5689"/>
          <ac:graphicFrameMkLst>
            <pc:docMk/>
            <pc:sldMk cId="778955014" sldId="2147374019"/>
            <ac:graphicFrameMk id="44" creationId="{942FC544-7E3D-498C-BD20-F1188AC473EB}"/>
          </ac:graphicFrameMkLst>
        </pc:graphicFrameChg>
        <pc:graphicFrameChg chg="add mod modGraphic">
          <ac:chgData name="Richerzhagen, Bjoern (T CED WLN-DE)" userId="1be7a072-4164-461c-b9ed-ae3c5d97c1a8" providerId="ADAL" clId="{A27AFCC7-D8F6-44BC-A001-AAF1884E580A}" dt="2022-03-01T13:21:38.525" v="5839" actId="1037"/>
          <ac:graphicFrameMkLst>
            <pc:docMk/>
            <pc:sldMk cId="778955014" sldId="2147374019"/>
            <ac:graphicFrameMk id="45" creationId="{7806692A-1F85-494B-A892-8AC9FE33D712}"/>
          </ac:graphicFrameMkLst>
        </pc:graphicFrameChg>
        <pc:graphicFrameChg chg="add mod">
          <ac:chgData name="Richerzhagen, Bjoern (T CED WLN-DE)" userId="1be7a072-4164-461c-b9ed-ae3c5d97c1a8" providerId="ADAL" clId="{A27AFCC7-D8F6-44BC-A001-AAF1884E580A}" dt="2022-03-01T13:21:38.525" v="5839" actId="1037"/>
          <ac:graphicFrameMkLst>
            <pc:docMk/>
            <pc:sldMk cId="778955014" sldId="2147374019"/>
            <ac:graphicFrameMk id="46" creationId="{81A83F2A-448D-4D59-AB06-51B2D1C40B4F}"/>
          </ac:graphicFrameMkLst>
        </pc:graphicFrameChg>
        <pc:graphicFrameChg chg="add mod">
          <ac:chgData name="Richerzhagen, Bjoern (T CED WLN-DE)" userId="1be7a072-4164-461c-b9ed-ae3c5d97c1a8" providerId="ADAL" clId="{A27AFCC7-D8F6-44BC-A001-AAF1884E580A}" dt="2022-03-01T13:21:38.525" v="5839" actId="1037"/>
          <ac:graphicFrameMkLst>
            <pc:docMk/>
            <pc:sldMk cId="778955014" sldId="2147374019"/>
            <ac:graphicFrameMk id="47" creationId="{EE6098C3-4B84-4A31-9971-2DA8ACF7600E}"/>
          </ac:graphicFrameMkLst>
        </pc:graphicFrameChg>
        <pc:picChg chg="add del mod">
          <ac:chgData name="Richerzhagen, Bjoern (T CED WLN-DE)" userId="1be7a072-4164-461c-b9ed-ae3c5d97c1a8" providerId="ADAL" clId="{A27AFCC7-D8F6-44BC-A001-AAF1884E580A}" dt="2022-03-01T13:10:52.781" v="5688"/>
          <ac:picMkLst>
            <pc:docMk/>
            <pc:sldMk cId="778955014" sldId="2147374019"/>
            <ac:picMk id="27" creationId="{76773905-36BF-4A0A-9236-4080AD5D376E}"/>
          </ac:picMkLst>
        </pc:picChg>
        <pc:picChg chg="add del mod">
          <ac:chgData name="Richerzhagen, Bjoern (T CED WLN-DE)" userId="1be7a072-4164-461c-b9ed-ae3c5d97c1a8" providerId="ADAL" clId="{A27AFCC7-D8F6-44BC-A001-AAF1884E580A}" dt="2022-03-01T13:10:52.781" v="5688"/>
          <ac:picMkLst>
            <pc:docMk/>
            <pc:sldMk cId="778955014" sldId="2147374019"/>
            <ac:picMk id="28" creationId="{B4F845CC-97E3-423C-87A4-11430A7F9E10}"/>
          </ac:picMkLst>
        </pc:picChg>
        <pc:picChg chg="add del mod">
          <ac:chgData name="Richerzhagen, Bjoern (T CED WLN-DE)" userId="1be7a072-4164-461c-b9ed-ae3c5d97c1a8" providerId="ADAL" clId="{A27AFCC7-D8F6-44BC-A001-AAF1884E580A}" dt="2022-03-01T13:10:52.781" v="5688"/>
          <ac:picMkLst>
            <pc:docMk/>
            <pc:sldMk cId="778955014" sldId="2147374019"/>
            <ac:picMk id="29" creationId="{8C7CA9C2-563B-4806-8633-F6E75AE27ED4}"/>
          </ac:picMkLst>
        </pc:picChg>
        <pc:picChg chg="add del mod">
          <ac:chgData name="Richerzhagen, Bjoern (T CED WLN-DE)" userId="1be7a072-4164-461c-b9ed-ae3c5d97c1a8" providerId="ADAL" clId="{A27AFCC7-D8F6-44BC-A001-AAF1884E580A}" dt="2022-03-01T13:10:52.781" v="5688"/>
          <ac:picMkLst>
            <pc:docMk/>
            <pc:sldMk cId="778955014" sldId="2147374019"/>
            <ac:picMk id="30" creationId="{9DA12652-7186-4111-BAB3-B7D796D4805C}"/>
          </ac:picMkLst>
        </pc:picChg>
        <pc:picChg chg="add del mod">
          <ac:chgData name="Richerzhagen, Bjoern (T CED WLN-DE)" userId="1be7a072-4164-461c-b9ed-ae3c5d97c1a8" providerId="ADAL" clId="{A27AFCC7-D8F6-44BC-A001-AAF1884E580A}" dt="2022-03-01T13:10:52.781" v="5688"/>
          <ac:picMkLst>
            <pc:docMk/>
            <pc:sldMk cId="778955014" sldId="2147374019"/>
            <ac:picMk id="31" creationId="{BCB18F5C-D9FA-472F-BA5D-FA48F9CFA541}"/>
          </ac:picMkLst>
        </pc:picChg>
        <pc:picChg chg="add del mod">
          <ac:chgData name="Richerzhagen, Bjoern (T CED WLN-DE)" userId="1be7a072-4164-461c-b9ed-ae3c5d97c1a8" providerId="ADAL" clId="{A27AFCC7-D8F6-44BC-A001-AAF1884E580A}" dt="2022-03-01T13:10:52.781" v="5688"/>
          <ac:picMkLst>
            <pc:docMk/>
            <pc:sldMk cId="778955014" sldId="2147374019"/>
            <ac:picMk id="32" creationId="{14772711-89EF-4D72-B7C6-F7CB09F4DDB3}"/>
          </ac:picMkLst>
        </pc:picChg>
        <pc:picChg chg="add del mod">
          <ac:chgData name="Richerzhagen, Bjoern (T CED WLN-DE)" userId="1be7a072-4164-461c-b9ed-ae3c5d97c1a8" providerId="ADAL" clId="{A27AFCC7-D8F6-44BC-A001-AAF1884E580A}" dt="2022-03-01T13:10:52.781" v="5688"/>
          <ac:picMkLst>
            <pc:docMk/>
            <pc:sldMk cId="778955014" sldId="2147374019"/>
            <ac:picMk id="37" creationId="{2B7A11AD-FE56-4587-AF43-27EC678D5743}"/>
          </ac:picMkLst>
        </pc:picChg>
        <pc:picChg chg="add del mod">
          <ac:chgData name="Richerzhagen, Bjoern (T CED WLN-DE)" userId="1be7a072-4164-461c-b9ed-ae3c5d97c1a8" providerId="ADAL" clId="{A27AFCC7-D8F6-44BC-A001-AAF1884E580A}" dt="2022-03-01T13:10:52.781" v="5688"/>
          <ac:picMkLst>
            <pc:docMk/>
            <pc:sldMk cId="778955014" sldId="2147374019"/>
            <ac:picMk id="38" creationId="{01D5390D-46A7-494E-BB26-2E1374FFD444}"/>
          </ac:picMkLst>
        </pc:picChg>
        <pc:picChg chg="add del mod">
          <ac:chgData name="Richerzhagen, Bjoern (T CED WLN-DE)" userId="1be7a072-4164-461c-b9ed-ae3c5d97c1a8" providerId="ADAL" clId="{A27AFCC7-D8F6-44BC-A001-AAF1884E580A}" dt="2022-03-01T13:10:52.781" v="5688"/>
          <ac:picMkLst>
            <pc:docMk/>
            <pc:sldMk cId="778955014" sldId="2147374019"/>
            <ac:picMk id="39" creationId="{BAE885CD-D7B5-4DDE-B554-80D1FEB6106F}"/>
          </ac:picMkLst>
        </pc:picChg>
        <pc:picChg chg="add del mod">
          <ac:chgData name="Richerzhagen, Bjoern (T CED WLN-DE)" userId="1be7a072-4164-461c-b9ed-ae3c5d97c1a8" providerId="ADAL" clId="{A27AFCC7-D8F6-44BC-A001-AAF1884E580A}" dt="2022-03-01T13:10:52.781" v="5688"/>
          <ac:picMkLst>
            <pc:docMk/>
            <pc:sldMk cId="778955014" sldId="2147374019"/>
            <ac:picMk id="40" creationId="{A3382538-B9AF-4D15-B9E3-ACD37F9084CF}"/>
          </ac:picMkLst>
        </pc:picChg>
        <pc:picChg chg="add del mod">
          <ac:chgData name="Richerzhagen, Bjoern (T CED WLN-DE)" userId="1be7a072-4164-461c-b9ed-ae3c5d97c1a8" providerId="ADAL" clId="{A27AFCC7-D8F6-44BC-A001-AAF1884E580A}" dt="2022-03-01T13:10:52.781" v="5688"/>
          <ac:picMkLst>
            <pc:docMk/>
            <pc:sldMk cId="778955014" sldId="2147374019"/>
            <ac:picMk id="41" creationId="{34B6ACF7-885E-4BC2-B035-94FE18D3E164}"/>
          </ac:picMkLst>
        </pc:picChg>
        <pc:picChg chg="add del mod">
          <ac:chgData name="Richerzhagen, Bjoern (T CED WLN-DE)" userId="1be7a072-4164-461c-b9ed-ae3c5d97c1a8" providerId="ADAL" clId="{A27AFCC7-D8F6-44BC-A001-AAF1884E580A}" dt="2022-03-01T13:20:36.126" v="5786" actId="1076"/>
          <ac:picMkLst>
            <pc:docMk/>
            <pc:sldMk cId="778955014" sldId="2147374019"/>
            <ac:picMk id="65" creationId="{3D21A2B8-4D91-4A91-A40A-162040679E10}"/>
          </ac:picMkLst>
        </pc:picChg>
        <pc:picChg chg="add del mod">
          <ac:chgData name="Richerzhagen, Bjoern (T CED WLN-DE)" userId="1be7a072-4164-461c-b9ed-ae3c5d97c1a8" providerId="ADAL" clId="{A27AFCC7-D8F6-44BC-A001-AAF1884E580A}" dt="2022-03-01T13:21:38.525" v="5839" actId="1037"/>
          <ac:picMkLst>
            <pc:docMk/>
            <pc:sldMk cId="778955014" sldId="2147374019"/>
            <ac:picMk id="66" creationId="{92CFB0DA-2159-4BB4-B31B-47EC4B4D0A59}"/>
          </ac:picMkLst>
        </pc:picChg>
        <pc:picChg chg="add mod">
          <ac:chgData name="Richerzhagen, Bjoern (T CED WLN-DE)" userId="1be7a072-4164-461c-b9ed-ae3c5d97c1a8" providerId="ADAL" clId="{A27AFCC7-D8F6-44BC-A001-AAF1884E580A}" dt="2022-03-01T13:22:25.676" v="5950" actId="1076"/>
          <ac:picMkLst>
            <pc:docMk/>
            <pc:sldMk cId="778955014" sldId="2147374019"/>
            <ac:picMk id="67" creationId="{F9F1F209-36C2-4BA6-B5AC-34C0496175F3}"/>
          </ac:picMkLst>
        </pc:picChg>
        <pc:picChg chg="add del mod">
          <ac:chgData name="Richerzhagen, Bjoern (T CED WLN-DE)" userId="1be7a072-4164-461c-b9ed-ae3c5d97c1a8" providerId="ADAL" clId="{A27AFCC7-D8F6-44BC-A001-AAF1884E580A}" dt="2022-03-01T13:20:37.651" v="5787" actId="478"/>
          <ac:picMkLst>
            <pc:docMk/>
            <pc:sldMk cId="778955014" sldId="2147374019"/>
            <ac:picMk id="68" creationId="{713584F5-BE00-4A8E-9148-8DB4FFD12436}"/>
          </ac:picMkLst>
        </pc:picChg>
        <pc:picChg chg="add mod">
          <ac:chgData name="Richerzhagen, Bjoern (T CED WLN-DE)" userId="1be7a072-4164-461c-b9ed-ae3c5d97c1a8" providerId="ADAL" clId="{A27AFCC7-D8F6-44BC-A001-AAF1884E580A}" dt="2022-03-01T13:21:38.525" v="5839" actId="1037"/>
          <ac:picMkLst>
            <pc:docMk/>
            <pc:sldMk cId="778955014" sldId="2147374019"/>
            <ac:picMk id="69" creationId="{36820534-07DE-4028-A6FB-B325E997414C}"/>
          </ac:picMkLst>
        </pc:picChg>
        <pc:picChg chg="add mod">
          <ac:chgData name="Richerzhagen, Bjoern (T CED WLN-DE)" userId="1be7a072-4164-461c-b9ed-ae3c5d97c1a8" providerId="ADAL" clId="{A27AFCC7-D8F6-44BC-A001-AAF1884E580A}" dt="2022-03-01T13:21:38.525" v="5839" actId="1037"/>
          <ac:picMkLst>
            <pc:docMk/>
            <pc:sldMk cId="778955014" sldId="2147374019"/>
            <ac:picMk id="70" creationId="{FF7F7458-91BE-448D-8A0D-467A35B3210B}"/>
          </ac:picMkLst>
        </pc:picChg>
        <pc:picChg chg="add del mod">
          <ac:chgData name="Richerzhagen, Bjoern (T CED WLN-DE)" userId="1be7a072-4164-461c-b9ed-ae3c5d97c1a8" providerId="ADAL" clId="{A27AFCC7-D8F6-44BC-A001-AAF1884E580A}" dt="2022-03-01T13:11:07.720" v="5693" actId="478"/>
          <ac:picMkLst>
            <pc:docMk/>
            <pc:sldMk cId="778955014" sldId="2147374019"/>
            <ac:picMk id="75" creationId="{9FA0AFD1-0785-46F9-9E4A-4033121A375F}"/>
          </ac:picMkLst>
        </pc:picChg>
        <pc:picChg chg="add del mod">
          <ac:chgData name="Richerzhagen, Bjoern (T CED WLN-DE)" userId="1be7a072-4164-461c-b9ed-ae3c5d97c1a8" providerId="ADAL" clId="{A27AFCC7-D8F6-44BC-A001-AAF1884E580A}" dt="2022-03-01T13:11:05.275" v="5691" actId="478"/>
          <ac:picMkLst>
            <pc:docMk/>
            <pc:sldMk cId="778955014" sldId="2147374019"/>
            <ac:picMk id="76" creationId="{856B926A-4255-482D-ADA9-3AD70F54CBAD}"/>
          </ac:picMkLst>
        </pc:picChg>
        <pc:picChg chg="add del mod">
          <ac:chgData name="Richerzhagen, Bjoern (T CED WLN-DE)" userId="1be7a072-4164-461c-b9ed-ae3c5d97c1a8" providerId="ADAL" clId="{A27AFCC7-D8F6-44BC-A001-AAF1884E580A}" dt="2022-03-01T13:11:06.479" v="5692" actId="478"/>
          <ac:picMkLst>
            <pc:docMk/>
            <pc:sldMk cId="778955014" sldId="2147374019"/>
            <ac:picMk id="77" creationId="{DA900310-4928-4702-B132-EE901764A38C}"/>
          </ac:picMkLst>
        </pc:picChg>
        <pc:picChg chg="add del mod">
          <ac:chgData name="Richerzhagen, Bjoern (T CED WLN-DE)" userId="1be7a072-4164-461c-b9ed-ae3c5d97c1a8" providerId="ADAL" clId="{A27AFCC7-D8F6-44BC-A001-AAF1884E580A}" dt="2022-03-01T13:11:09.077" v="5694" actId="478"/>
          <ac:picMkLst>
            <pc:docMk/>
            <pc:sldMk cId="778955014" sldId="2147374019"/>
            <ac:picMk id="78" creationId="{DA205E90-8814-4A5D-B381-9361ED5625CD}"/>
          </ac:picMkLst>
        </pc:picChg>
        <pc:picChg chg="add del mod">
          <ac:chgData name="Richerzhagen, Bjoern (T CED WLN-DE)" userId="1be7a072-4164-461c-b9ed-ae3c5d97c1a8" providerId="ADAL" clId="{A27AFCC7-D8F6-44BC-A001-AAF1884E580A}" dt="2022-03-01T13:11:03.899" v="5690" actId="478"/>
          <ac:picMkLst>
            <pc:docMk/>
            <pc:sldMk cId="778955014" sldId="2147374019"/>
            <ac:picMk id="79" creationId="{C4433DB3-579F-4479-BBF7-357FF04E7E77}"/>
          </ac:picMkLst>
        </pc:picChg>
        <pc:cxnChg chg="mod">
          <ac:chgData name="Richerzhagen, Bjoern (T CED WLN-DE)" userId="1be7a072-4164-461c-b9ed-ae3c5d97c1a8" providerId="ADAL" clId="{A27AFCC7-D8F6-44BC-A001-AAF1884E580A}" dt="2022-03-01T13:10:48.221" v="5687"/>
          <ac:cxnSpMkLst>
            <pc:docMk/>
            <pc:sldMk cId="778955014" sldId="2147374019"/>
            <ac:cxnSpMk id="14" creationId="{3DE7C315-EFAB-43A7-AC19-272BC37D1A62}"/>
          </ac:cxnSpMkLst>
        </pc:cxnChg>
        <pc:cxnChg chg="mod">
          <ac:chgData name="Richerzhagen, Bjoern (T CED WLN-DE)" userId="1be7a072-4164-461c-b9ed-ae3c5d97c1a8" providerId="ADAL" clId="{A27AFCC7-D8F6-44BC-A001-AAF1884E580A}" dt="2022-03-01T13:10:48.221" v="5687"/>
          <ac:cxnSpMkLst>
            <pc:docMk/>
            <pc:sldMk cId="778955014" sldId="2147374019"/>
            <ac:cxnSpMk id="15" creationId="{7CD3147C-3C47-4164-B758-0F744A6B012B}"/>
          </ac:cxnSpMkLst>
        </pc:cxnChg>
        <pc:cxnChg chg="mod">
          <ac:chgData name="Richerzhagen, Bjoern (T CED WLN-DE)" userId="1be7a072-4164-461c-b9ed-ae3c5d97c1a8" providerId="ADAL" clId="{A27AFCC7-D8F6-44BC-A001-AAF1884E580A}" dt="2022-03-01T13:10:48.221" v="5687"/>
          <ac:cxnSpMkLst>
            <pc:docMk/>
            <pc:sldMk cId="778955014" sldId="2147374019"/>
            <ac:cxnSpMk id="16" creationId="{0D0B28C1-EFDF-45B5-844C-F926260E510E}"/>
          </ac:cxnSpMkLst>
        </pc:cxnChg>
        <pc:cxnChg chg="mod">
          <ac:chgData name="Richerzhagen, Bjoern (T CED WLN-DE)" userId="1be7a072-4164-461c-b9ed-ae3c5d97c1a8" providerId="ADAL" clId="{A27AFCC7-D8F6-44BC-A001-AAF1884E580A}" dt="2022-03-01T13:10:48.221" v="5687"/>
          <ac:cxnSpMkLst>
            <pc:docMk/>
            <pc:sldMk cId="778955014" sldId="2147374019"/>
            <ac:cxnSpMk id="23" creationId="{D727F486-3F79-4A56-8427-8CE1E3BE681D}"/>
          </ac:cxnSpMkLst>
        </pc:cxnChg>
        <pc:cxnChg chg="mod">
          <ac:chgData name="Richerzhagen, Bjoern (T CED WLN-DE)" userId="1be7a072-4164-461c-b9ed-ae3c5d97c1a8" providerId="ADAL" clId="{A27AFCC7-D8F6-44BC-A001-AAF1884E580A}" dt="2022-03-01T13:10:48.221" v="5687"/>
          <ac:cxnSpMkLst>
            <pc:docMk/>
            <pc:sldMk cId="778955014" sldId="2147374019"/>
            <ac:cxnSpMk id="24" creationId="{D5B56968-6AD3-4FD0-AB20-9947582E3767}"/>
          </ac:cxnSpMkLst>
        </pc:cxnChg>
        <pc:cxnChg chg="mod">
          <ac:chgData name="Richerzhagen, Bjoern (T CED WLN-DE)" userId="1be7a072-4164-461c-b9ed-ae3c5d97c1a8" providerId="ADAL" clId="{A27AFCC7-D8F6-44BC-A001-AAF1884E580A}" dt="2022-03-01T13:10:48.221" v="5687"/>
          <ac:cxnSpMkLst>
            <pc:docMk/>
            <pc:sldMk cId="778955014" sldId="2147374019"/>
            <ac:cxnSpMk id="25" creationId="{1D5D53EE-6B03-47F0-A917-7DB9ECED623D}"/>
          </ac:cxnSpMkLst>
        </pc:cxnChg>
        <pc:cxnChg chg="add del mod">
          <ac:chgData name="Richerzhagen, Bjoern (T CED WLN-DE)" userId="1be7a072-4164-461c-b9ed-ae3c5d97c1a8" providerId="ADAL" clId="{A27AFCC7-D8F6-44BC-A001-AAF1884E580A}" dt="2022-03-01T13:10:52.781" v="5688"/>
          <ac:cxnSpMkLst>
            <pc:docMk/>
            <pc:sldMk cId="778955014" sldId="2147374019"/>
            <ac:cxnSpMk id="35" creationId="{656A2DB1-0C97-4C0B-AE47-39B965522C96}"/>
          </ac:cxnSpMkLst>
        </pc:cxnChg>
        <pc:cxnChg chg="add del mod">
          <ac:chgData name="Richerzhagen, Bjoern (T CED WLN-DE)" userId="1be7a072-4164-461c-b9ed-ae3c5d97c1a8" providerId="ADAL" clId="{A27AFCC7-D8F6-44BC-A001-AAF1884E580A}" dt="2022-03-01T13:10:52.781" v="5688"/>
          <ac:cxnSpMkLst>
            <pc:docMk/>
            <pc:sldMk cId="778955014" sldId="2147374019"/>
            <ac:cxnSpMk id="36" creationId="{3B3839D6-9C1F-4002-8180-EDF26C55C315}"/>
          </ac:cxnSpMkLst>
        </pc:cxnChg>
        <pc:cxnChg chg="mod">
          <ac:chgData name="Richerzhagen, Bjoern (T CED WLN-DE)" userId="1be7a072-4164-461c-b9ed-ae3c5d97c1a8" providerId="ADAL" clId="{A27AFCC7-D8F6-44BC-A001-AAF1884E580A}" dt="2022-03-01T13:21:47.758" v="5876" actId="1038"/>
          <ac:cxnSpMkLst>
            <pc:docMk/>
            <pc:sldMk cId="778955014" sldId="2147374019"/>
            <ac:cxnSpMk id="52" creationId="{787343B5-2C64-46BE-9FF3-C4D3E0767069}"/>
          </ac:cxnSpMkLst>
        </pc:cxnChg>
        <pc:cxnChg chg="mod">
          <ac:chgData name="Richerzhagen, Bjoern (T CED WLN-DE)" userId="1be7a072-4164-461c-b9ed-ae3c5d97c1a8" providerId="ADAL" clId="{A27AFCC7-D8F6-44BC-A001-AAF1884E580A}" dt="2022-03-01T13:21:47.758" v="5876" actId="1038"/>
          <ac:cxnSpMkLst>
            <pc:docMk/>
            <pc:sldMk cId="778955014" sldId="2147374019"/>
            <ac:cxnSpMk id="53" creationId="{53F97141-B23E-4E4B-BE77-DDF964FA1022}"/>
          </ac:cxnSpMkLst>
        </pc:cxnChg>
        <pc:cxnChg chg="mod">
          <ac:chgData name="Richerzhagen, Bjoern (T CED WLN-DE)" userId="1be7a072-4164-461c-b9ed-ae3c5d97c1a8" providerId="ADAL" clId="{A27AFCC7-D8F6-44BC-A001-AAF1884E580A}" dt="2022-03-01T13:10:54.627" v="5689"/>
          <ac:cxnSpMkLst>
            <pc:docMk/>
            <pc:sldMk cId="778955014" sldId="2147374019"/>
            <ac:cxnSpMk id="54" creationId="{1EA2308A-20D7-4682-9AF3-70DD06D58A0F}"/>
          </ac:cxnSpMkLst>
        </pc:cxnChg>
        <pc:cxnChg chg="mod">
          <ac:chgData name="Richerzhagen, Bjoern (T CED WLN-DE)" userId="1be7a072-4164-461c-b9ed-ae3c5d97c1a8" providerId="ADAL" clId="{A27AFCC7-D8F6-44BC-A001-AAF1884E580A}" dt="2022-03-01T13:21:54.867" v="5909" actId="1038"/>
          <ac:cxnSpMkLst>
            <pc:docMk/>
            <pc:sldMk cId="778955014" sldId="2147374019"/>
            <ac:cxnSpMk id="61" creationId="{C170BDBD-28F7-4F61-960B-67F61F6351EF}"/>
          </ac:cxnSpMkLst>
        </pc:cxnChg>
        <pc:cxnChg chg="mod">
          <ac:chgData name="Richerzhagen, Bjoern (T CED WLN-DE)" userId="1be7a072-4164-461c-b9ed-ae3c5d97c1a8" providerId="ADAL" clId="{A27AFCC7-D8F6-44BC-A001-AAF1884E580A}" dt="2022-03-01T13:22:00.954" v="5945" actId="1037"/>
          <ac:cxnSpMkLst>
            <pc:docMk/>
            <pc:sldMk cId="778955014" sldId="2147374019"/>
            <ac:cxnSpMk id="62" creationId="{D9A7B75A-8E2B-4885-A4BD-5ABF15A57E40}"/>
          </ac:cxnSpMkLst>
        </pc:cxnChg>
        <pc:cxnChg chg="mod">
          <ac:chgData name="Richerzhagen, Bjoern (T CED WLN-DE)" userId="1be7a072-4164-461c-b9ed-ae3c5d97c1a8" providerId="ADAL" clId="{A27AFCC7-D8F6-44BC-A001-AAF1884E580A}" dt="2022-03-01T13:22:00.954" v="5945" actId="1037"/>
          <ac:cxnSpMkLst>
            <pc:docMk/>
            <pc:sldMk cId="778955014" sldId="2147374019"/>
            <ac:cxnSpMk id="63" creationId="{65D25849-204C-400F-8EC6-94A21845F1F0}"/>
          </ac:cxnSpMkLst>
        </pc:cxnChg>
        <pc:cxnChg chg="add mod">
          <ac:chgData name="Richerzhagen, Bjoern (T CED WLN-DE)" userId="1be7a072-4164-461c-b9ed-ae3c5d97c1a8" providerId="ADAL" clId="{A27AFCC7-D8F6-44BC-A001-AAF1884E580A}" dt="2022-03-01T13:10:54.627" v="5689"/>
          <ac:cxnSpMkLst>
            <pc:docMk/>
            <pc:sldMk cId="778955014" sldId="2147374019"/>
            <ac:cxnSpMk id="73" creationId="{6A6696C9-FCDB-4609-B0BA-084C124D7A37}"/>
          </ac:cxnSpMkLst>
        </pc:cxnChg>
        <pc:cxnChg chg="add mod">
          <ac:chgData name="Richerzhagen, Bjoern (T CED WLN-DE)" userId="1be7a072-4164-461c-b9ed-ae3c5d97c1a8" providerId="ADAL" clId="{A27AFCC7-D8F6-44BC-A001-AAF1884E580A}" dt="2022-03-01T13:10:54.627" v="5689"/>
          <ac:cxnSpMkLst>
            <pc:docMk/>
            <pc:sldMk cId="778955014" sldId="2147374019"/>
            <ac:cxnSpMk id="74" creationId="{3D5F9E2D-53D2-4E0A-94B8-5D66E0CD3F61}"/>
          </ac:cxnSpMkLst>
        </pc:cxnChg>
      </pc:sldChg>
      <pc:sldChg chg="addSp delSp modSp add mod ord chgLayout modNotes modNotesTx">
        <pc:chgData name="Richerzhagen, Bjoern (T CED WLN-DE)" userId="1be7a072-4164-461c-b9ed-ae3c5d97c1a8" providerId="ADAL" clId="{A27AFCC7-D8F6-44BC-A001-AAF1884E580A}" dt="2022-03-08T09:07:50.291" v="26066" actId="20577"/>
        <pc:sldMkLst>
          <pc:docMk/>
          <pc:sldMk cId="1043292221" sldId="2147374020"/>
        </pc:sldMkLst>
        <pc:spChg chg="add del mod">
          <ac:chgData name="Richerzhagen, Bjoern (T CED WLN-DE)" userId="1be7a072-4164-461c-b9ed-ae3c5d97c1a8" providerId="ADAL" clId="{A27AFCC7-D8F6-44BC-A001-AAF1884E580A}" dt="2022-03-01T13:28:11.625" v="6009" actId="6264"/>
          <ac:spMkLst>
            <pc:docMk/>
            <pc:sldMk cId="1043292221" sldId="2147374020"/>
            <ac:spMk id="2" creationId="{41C87612-7D8C-427C-A9F9-8CC8A8F12A8B}"/>
          </ac:spMkLst>
        </pc:spChg>
        <pc:spChg chg="add mod">
          <ac:chgData name="Richerzhagen, Bjoern (T CED WLN-DE)" userId="1be7a072-4164-461c-b9ed-ae3c5d97c1a8" providerId="ADAL" clId="{A27AFCC7-D8F6-44BC-A001-AAF1884E580A}" dt="2022-03-08T07:59:53.266" v="17003" actId="14100"/>
          <ac:spMkLst>
            <pc:docMk/>
            <pc:sldMk cId="1043292221" sldId="2147374020"/>
            <ac:spMk id="3" creationId="{E937B544-0255-41D7-A88E-A1005A155139}"/>
          </ac:spMkLst>
        </pc:spChg>
        <pc:spChg chg="mod ord">
          <ac:chgData name="Richerzhagen, Bjoern (T CED WLN-DE)" userId="1be7a072-4164-461c-b9ed-ae3c5d97c1a8" providerId="ADAL" clId="{A27AFCC7-D8F6-44BC-A001-AAF1884E580A}" dt="2022-03-01T13:28:11.625" v="6009" actId="6264"/>
          <ac:spMkLst>
            <pc:docMk/>
            <pc:sldMk cId="1043292221" sldId="2147374020"/>
            <ac:spMk id="4" creationId="{EDA2E8E9-22AB-4AD1-9C82-3D348D05D62E}"/>
          </ac:spMkLst>
        </pc:spChg>
        <pc:spChg chg="del mod ord">
          <ac:chgData name="Richerzhagen, Bjoern (T CED WLN-DE)" userId="1be7a072-4164-461c-b9ed-ae3c5d97c1a8" providerId="ADAL" clId="{A27AFCC7-D8F6-44BC-A001-AAF1884E580A}" dt="2022-03-01T15:03:50.922" v="6552" actId="478"/>
          <ac:spMkLst>
            <pc:docMk/>
            <pc:sldMk cId="1043292221" sldId="2147374020"/>
            <ac:spMk id="5" creationId="{30333122-4CB5-44EF-BDCB-FE8BCF4A1840}"/>
          </ac:spMkLst>
        </pc:spChg>
        <pc:spChg chg="add del mod">
          <ac:chgData name="Richerzhagen, Bjoern (T CED WLN-DE)" userId="1be7a072-4164-461c-b9ed-ae3c5d97c1a8" providerId="ADAL" clId="{A27AFCC7-D8F6-44BC-A001-AAF1884E580A}" dt="2022-03-01T13:28:11.625" v="6009" actId="6264"/>
          <ac:spMkLst>
            <pc:docMk/>
            <pc:sldMk cId="1043292221" sldId="2147374020"/>
            <ac:spMk id="7" creationId="{36EED630-8F98-4344-AC7E-AFDF9D29CC1D}"/>
          </ac:spMkLst>
        </pc:spChg>
        <pc:spChg chg="add mod">
          <ac:chgData name="Richerzhagen, Bjoern (T CED WLN-DE)" userId="1be7a072-4164-461c-b9ed-ae3c5d97c1a8" providerId="ADAL" clId="{A27AFCC7-D8F6-44BC-A001-AAF1884E580A}" dt="2022-03-08T08:00:27.487" v="17014" actId="404"/>
          <ac:spMkLst>
            <pc:docMk/>
            <pc:sldMk cId="1043292221" sldId="2147374020"/>
            <ac:spMk id="12" creationId="{1F8F06D6-2F03-4053-89D3-F6BAB19E9879}"/>
          </ac:spMkLst>
        </pc:spChg>
        <pc:spChg chg="add mod">
          <ac:chgData name="Richerzhagen, Bjoern (T CED WLN-DE)" userId="1be7a072-4164-461c-b9ed-ae3c5d97c1a8" providerId="ADAL" clId="{A27AFCC7-D8F6-44BC-A001-AAF1884E580A}" dt="2022-03-08T08:00:40.127" v="17015" actId="1076"/>
          <ac:spMkLst>
            <pc:docMk/>
            <pc:sldMk cId="1043292221" sldId="2147374020"/>
            <ac:spMk id="19" creationId="{D1808CBF-AF80-408C-8336-736E1927624E}"/>
          </ac:spMkLst>
        </pc:spChg>
        <pc:spChg chg="add mod">
          <ac:chgData name="Richerzhagen, Bjoern (T CED WLN-DE)" userId="1be7a072-4164-461c-b9ed-ae3c5d97c1a8" providerId="ADAL" clId="{A27AFCC7-D8F6-44BC-A001-AAF1884E580A}" dt="2022-03-08T08:00:40.127" v="17015" actId="1076"/>
          <ac:spMkLst>
            <pc:docMk/>
            <pc:sldMk cId="1043292221" sldId="2147374020"/>
            <ac:spMk id="20" creationId="{BF02B359-7576-4900-91CA-DEB695F2F669}"/>
          </ac:spMkLst>
        </pc:spChg>
        <pc:spChg chg="add mod">
          <ac:chgData name="Richerzhagen, Bjoern (T CED WLN-DE)" userId="1be7a072-4164-461c-b9ed-ae3c5d97c1a8" providerId="ADAL" clId="{A27AFCC7-D8F6-44BC-A001-AAF1884E580A}" dt="2022-03-08T08:00:40.127" v="17015" actId="1076"/>
          <ac:spMkLst>
            <pc:docMk/>
            <pc:sldMk cId="1043292221" sldId="2147374020"/>
            <ac:spMk id="25" creationId="{DD5EBD52-7DF1-4421-9839-3A2131CDDDF9}"/>
          </ac:spMkLst>
        </pc:spChg>
        <pc:spChg chg="add mod">
          <ac:chgData name="Richerzhagen, Bjoern (T CED WLN-DE)" userId="1be7a072-4164-461c-b9ed-ae3c5d97c1a8" providerId="ADAL" clId="{A27AFCC7-D8F6-44BC-A001-AAF1884E580A}" dt="2022-03-08T08:00:40.127" v="17015" actId="1076"/>
          <ac:spMkLst>
            <pc:docMk/>
            <pc:sldMk cId="1043292221" sldId="2147374020"/>
            <ac:spMk id="26" creationId="{6615FA39-BAD1-4921-9840-AF5EB7D5FE17}"/>
          </ac:spMkLst>
        </pc:spChg>
        <pc:spChg chg="add mod">
          <ac:chgData name="Richerzhagen, Bjoern (T CED WLN-DE)" userId="1be7a072-4164-461c-b9ed-ae3c5d97c1a8" providerId="ADAL" clId="{A27AFCC7-D8F6-44BC-A001-AAF1884E580A}" dt="2022-03-08T08:00:40.127" v="17015" actId="1076"/>
          <ac:spMkLst>
            <pc:docMk/>
            <pc:sldMk cId="1043292221" sldId="2147374020"/>
            <ac:spMk id="27" creationId="{BCB1AB1E-C134-4CDC-8C5A-2415EDF94A76}"/>
          </ac:spMkLst>
        </pc:spChg>
        <pc:spChg chg="mod">
          <ac:chgData name="Richerzhagen, Bjoern (T CED WLN-DE)" userId="1be7a072-4164-461c-b9ed-ae3c5d97c1a8" providerId="ADAL" clId="{A27AFCC7-D8F6-44BC-A001-AAF1884E580A}" dt="2022-03-08T08:00:40.127" v="17015" actId="1076"/>
          <ac:spMkLst>
            <pc:docMk/>
            <pc:sldMk cId="1043292221" sldId="2147374020"/>
            <ac:spMk id="29" creationId="{73964475-6601-4E94-8275-37F06729BFBB}"/>
          </ac:spMkLst>
        </pc:spChg>
        <pc:spChg chg="add mod">
          <ac:chgData name="Richerzhagen, Bjoern (T CED WLN-DE)" userId="1be7a072-4164-461c-b9ed-ae3c5d97c1a8" providerId="ADAL" clId="{A27AFCC7-D8F6-44BC-A001-AAF1884E580A}" dt="2022-03-08T08:00:40.127" v="17015" actId="1076"/>
          <ac:spMkLst>
            <pc:docMk/>
            <pc:sldMk cId="1043292221" sldId="2147374020"/>
            <ac:spMk id="31" creationId="{53E2CD53-6382-4289-A0D9-BBCCB28B19EC}"/>
          </ac:spMkLst>
        </pc:spChg>
        <pc:spChg chg="add mod">
          <ac:chgData name="Richerzhagen, Bjoern (T CED WLN-DE)" userId="1be7a072-4164-461c-b9ed-ae3c5d97c1a8" providerId="ADAL" clId="{A27AFCC7-D8F6-44BC-A001-AAF1884E580A}" dt="2022-03-08T08:00:40.127" v="17015" actId="1076"/>
          <ac:spMkLst>
            <pc:docMk/>
            <pc:sldMk cId="1043292221" sldId="2147374020"/>
            <ac:spMk id="32" creationId="{188CB43C-71E9-48EB-91F5-A7CE2CCFA13E}"/>
          </ac:spMkLst>
        </pc:spChg>
        <pc:spChg chg="add del mod">
          <ac:chgData name="Richerzhagen, Bjoern (T CED WLN-DE)" userId="1be7a072-4164-461c-b9ed-ae3c5d97c1a8" providerId="ADAL" clId="{A27AFCC7-D8F6-44BC-A001-AAF1884E580A}" dt="2022-03-08T07:53:41.530" v="16882" actId="478"/>
          <ac:spMkLst>
            <pc:docMk/>
            <pc:sldMk cId="1043292221" sldId="2147374020"/>
            <ac:spMk id="33" creationId="{70D1C613-C246-4A45-A010-6117798FA777}"/>
          </ac:spMkLst>
        </pc:spChg>
        <pc:spChg chg="add del mod">
          <ac:chgData name="Richerzhagen, Bjoern (T CED WLN-DE)" userId="1be7a072-4164-461c-b9ed-ae3c5d97c1a8" providerId="ADAL" clId="{A27AFCC7-D8F6-44BC-A001-AAF1884E580A}" dt="2022-03-07T09:35:16.398" v="16619" actId="478"/>
          <ac:spMkLst>
            <pc:docMk/>
            <pc:sldMk cId="1043292221" sldId="2147374020"/>
            <ac:spMk id="36" creationId="{867F9EEC-27C0-4BED-8413-91DDE5780738}"/>
          </ac:spMkLst>
        </pc:spChg>
        <pc:spChg chg="add del mod">
          <ac:chgData name="Richerzhagen, Bjoern (T CED WLN-DE)" userId="1be7a072-4164-461c-b9ed-ae3c5d97c1a8" providerId="ADAL" clId="{A27AFCC7-D8F6-44BC-A001-AAF1884E580A}" dt="2022-03-08T07:54:07.742" v="16889" actId="21"/>
          <ac:spMkLst>
            <pc:docMk/>
            <pc:sldMk cId="1043292221" sldId="2147374020"/>
            <ac:spMk id="36" creationId="{FDB9699E-0C09-4C2E-A23C-BE6C4162FEC0}"/>
          </ac:spMkLst>
        </pc:spChg>
        <pc:spChg chg="add del mod">
          <ac:chgData name="Richerzhagen, Bjoern (T CED WLN-DE)" userId="1be7a072-4164-461c-b9ed-ae3c5d97c1a8" providerId="ADAL" clId="{A27AFCC7-D8F6-44BC-A001-AAF1884E580A}" dt="2022-03-08T08:00:46.173" v="17017" actId="478"/>
          <ac:spMkLst>
            <pc:docMk/>
            <pc:sldMk cId="1043292221" sldId="2147374020"/>
            <ac:spMk id="37" creationId="{706315F1-0CB1-426E-903C-6482B1E9BA31}"/>
          </ac:spMkLst>
        </pc:spChg>
        <pc:spChg chg="add mod">
          <ac:chgData name="Richerzhagen, Bjoern (T CED WLN-DE)" userId="1be7a072-4164-461c-b9ed-ae3c5d97c1a8" providerId="ADAL" clId="{A27AFCC7-D8F6-44BC-A001-AAF1884E580A}" dt="2022-03-08T07:59:31.472" v="17000" actId="207"/>
          <ac:spMkLst>
            <pc:docMk/>
            <pc:sldMk cId="1043292221" sldId="2147374020"/>
            <ac:spMk id="39" creationId="{78780412-100E-458B-B81A-01B7D7A83AF4}"/>
          </ac:spMkLst>
        </pc:spChg>
        <pc:spChg chg="add mod">
          <ac:chgData name="Richerzhagen, Bjoern (T CED WLN-DE)" userId="1be7a072-4164-461c-b9ed-ae3c5d97c1a8" providerId="ADAL" clId="{A27AFCC7-D8F6-44BC-A001-AAF1884E580A}" dt="2022-03-08T07:59:29.177" v="16999" actId="207"/>
          <ac:spMkLst>
            <pc:docMk/>
            <pc:sldMk cId="1043292221" sldId="2147374020"/>
            <ac:spMk id="40" creationId="{FDC26DE9-9233-452E-BADB-C640B9514A94}"/>
          </ac:spMkLst>
        </pc:spChg>
        <pc:spChg chg="add mod">
          <ac:chgData name="Richerzhagen, Bjoern (T CED WLN-DE)" userId="1be7a072-4164-461c-b9ed-ae3c5d97c1a8" providerId="ADAL" clId="{A27AFCC7-D8F6-44BC-A001-AAF1884E580A}" dt="2022-03-08T08:00:09.425" v="17006" actId="6549"/>
          <ac:spMkLst>
            <pc:docMk/>
            <pc:sldMk cId="1043292221" sldId="2147374020"/>
            <ac:spMk id="41" creationId="{D3B4E187-8083-4DEC-B7CA-61F9CDA8D298}"/>
          </ac:spMkLst>
        </pc:spChg>
        <pc:spChg chg="add mod">
          <ac:chgData name="Richerzhagen, Bjoern (T CED WLN-DE)" userId="1be7a072-4164-461c-b9ed-ae3c5d97c1a8" providerId="ADAL" clId="{A27AFCC7-D8F6-44BC-A001-AAF1884E580A}" dt="2022-03-08T07:56:58.781" v="16929" actId="1076"/>
          <ac:spMkLst>
            <pc:docMk/>
            <pc:sldMk cId="1043292221" sldId="2147374020"/>
            <ac:spMk id="42" creationId="{9475FF87-2621-45D6-9FE3-2C7F527A8ABC}"/>
          </ac:spMkLst>
        </pc:spChg>
        <pc:spChg chg="add mod">
          <ac:chgData name="Richerzhagen, Bjoern (T CED WLN-DE)" userId="1be7a072-4164-461c-b9ed-ae3c5d97c1a8" providerId="ADAL" clId="{A27AFCC7-D8F6-44BC-A001-AAF1884E580A}" dt="2022-03-08T08:00:01.648" v="17005" actId="14100"/>
          <ac:spMkLst>
            <pc:docMk/>
            <pc:sldMk cId="1043292221" sldId="2147374020"/>
            <ac:spMk id="43" creationId="{856E0379-D7E1-4F43-9503-2E8A9FF7996A}"/>
          </ac:spMkLst>
        </pc:spChg>
        <pc:spChg chg="add mod">
          <ac:chgData name="Richerzhagen, Bjoern (T CED WLN-DE)" userId="1be7a072-4164-461c-b9ed-ae3c5d97c1a8" providerId="ADAL" clId="{A27AFCC7-D8F6-44BC-A001-AAF1884E580A}" dt="2022-03-08T08:49:48.457" v="22440" actId="1076"/>
          <ac:spMkLst>
            <pc:docMk/>
            <pc:sldMk cId="1043292221" sldId="2147374020"/>
            <ac:spMk id="44" creationId="{C63553A9-6017-4EF9-9DE9-F178E9C982A1}"/>
          </ac:spMkLst>
        </pc:spChg>
        <pc:spChg chg="add mod">
          <ac:chgData name="Richerzhagen, Bjoern (T CED WLN-DE)" userId="1be7a072-4164-461c-b9ed-ae3c5d97c1a8" providerId="ADAL" clId="{A27AFCC7-D8F6-44BC-A001-AAF1884E580A}" dt="2022-03-08T08:49:44.077" v="22439" actId="20577"/>
          <ac:spMkLst>
            <pc:docMk/>
            <pc:sldMk cId="1043292221" sldId="2147374020"/>
            <ac:spMk id="45" creationId="{5B787DEB-6102-4690-9255-35937DA6EA52}"/>
          </ac:spMkLst>
        </pc:spChg>
        <pc:grpChg chg="add mod">
          <ac:chgData name="Richerzhagen, Bjoern (T CED WLN-DE)" userId="1be7a072-4164-461c-b9ed-ae3c5d97c1a8" providerId="ADAL" clId="{A27AFCC7-D8F6-44BC-A001-AAF1884E580A}" dt="2022-03-08T08:00:40.127" v="17015" actId="1076"/>
          <ac:grpSpMkLst>
            <pc:docMk/>
            <pc:sldMk cId="1043292221" sldId="2147374020"/>
            <ac:grpSpMk id="2" creationId="{F6B328D6-07A6-48AC-83A6-CDE070EC9144}"/>
          </ac:grpSpMkLst>
        </pc:grpChg>
        <pc:grpChg chg="del">
          <ac:chgData name="Richerzhagen, Bjoern (T CED WLN-DE)" userId="1be7a072-4164-461c-b9ed-ae3c5d97c1a8" providerId="ADAL" clId="{A27AFCC7-D8F6-44BC-A001-AAF1884E580A}" dt="2022-03-01T13:28:06.373" v="6008" actId="478"/>
          <ac:grpSpMkLst>
            <pc:docMk/>
            <pc:sldMk cId="1043292221" sldId="2147374020"/>
            <ac:grpSpMk id="11" creationId="{88DF0B2E-252B-47AF-83AB-616794C39150}"/>
          </ac:grpSpMkLst>
        </pc:grpChg>
        <pc:grpChg chg="add mod">
          <ac:chgData name="Richerzhagen, Bjoern (T CED WLN-DE)" userId="1be7a072-4164-461c-b9ed-ae3c5d97c1a8" providerId="ADAL" clId="{A27AFCC7-D8F6-44BC-A001-AAF1884E580A}" dt="2022-03-08T08:00:40.127" v="17015" actId="1076"/>
          <ac:grpSpMkLst>
            <pc:docMk/>
            <pc:sldMk cId="1043292221" sldId="2147374020"/>
            <ac:grpSpMk id="28" creationId="{8A03CE8E-E599-48B8-8AC5-C1152543BB1E}"/>
          </ac:grpSpMkLst>
        </pc:grpChg>
        <pc:picChg chg="mod">
          <ac:chgData name="Richerzhagen, Bjoern (T CED WLN-DE)" userId="1be7a072-4164-461c-b9ed-ae3c5d97c1a8" providerId="ADAL" clId="{A27AFCC7-D8F6-44BC-A001-AAF1884E580A}" dt="2022-03-08T08:00:40.127" v="17015" actId="1076"/>
          <ac:picMkLst>
            <pc:docMk/>
            <pc:sldMk cId="1043292221" sldId="2147374020"/>
            <ac:picMk id="30" creationId="{6F1510BE-0B51-45CD-9535-8A381E13261D}"/>
          </ac:picMkLst>
        </pc:picChg>
        <pc:picChg chg="add del mod">
          <ac:chgData name="Richerzhagen, Bjoern (T CED WLN-DE)" userId="1be7a072-4164-461c-b9ed-ae3c5d97c1a8" providerId="ADAL" clId="{A27AFCC7-D8F6-44BC-A001-AAF1884E580A}" dt="2022-03-08T07:53:40.743" v="16881" actId="478"/>
          <ac:picMkLst>
            <pc:docMk/>
            <pc:sldMk cId="1043292221" sldId="2147374020"/>
            <ac:picMk id="35" creationId="{B23D46AC-3CB9-47D0-B802-9D912664F4CA}"/>
          </ac:picMkLst>
        </pc:picChg>
        <pc:picChg chg="add mod">
          <ac:chgData name="Richerzhagen, Bjoern (T CED WLN-DE)" userId="1be7a072-4164-461c-b9ed-ae3c5d97c1a8" providerId="ADAL" clId="{A27AFCC7-D8F6-44BC-A001-AAF1884E580A}" dt="2022-03-08T07:59:26.712" v="16998" actId="1076"/>
          <ac:picMkLst>
            <pc:docMk/>
            <pc:sldMk cId="1043292221" sldId="2147374020"/>
            <ac:picMk id="38" creationId="{CE62433B-440E-40DE-9292-152B99F2C0AD}"/>
          </ac:picMkLst>
        </pc:picChg>
        <pc:cxnChg chg="add del mod">
          <ac:chgData name="Richerzhagen, Bjoern (T CED WLN-DE)" userId="1be7a072-4164-461c-b9ed-ae3c5d97c1a8" providerId="ADAL" clId="{A27AFCC7-D8F6-44BC-A001-AAF1884E580A}" dt="2022-03-08T07:53:42.532" v="16883" actId="478"/>
          <ac:cxnSpMkLst>
            <pc:docMk/>
            <pc:sldMk cId="1043292221" sldId="2147374020"/>
            <ac:cxnSpMk id="34" creationId="{3A6631A5-E7F0-44CB-957B-35F7CF1864F7}"/>
          </ac:cxnSpMkLst>
        </pc:cxnChg>
      </pc:sldChg>
      <pc:sldChg chg="addSp delSp modSp add del mod modNotes">
        <pc:chgData name="Richerzhagen, Bjoern (T CED WLN-DE)" userId="1be7a072-4164-461c-b9ed-ae3c5d97c1a8" providerId="ADAL" clId="{A27AFCC7-D8F6-44BC-A001-AAF1884E580A}" dt="2022-03-08T08:00:52.557" v="17020" actId="47"/>
        <pc:sldMkLst>
          <pc:docMk/>
          <pc:sldMk cId="3693508037" sldId="2147374021"/>
        </pc:sldMkLst>
        <pc:spChg chg="add mod">
          <ac:chgData name="Richerzhagen, Bjoern (T CED WLN-DE)" userId="1be7a072-4164-461c-b9ed-ae3c5d97c1a8" providerId="ADAL" clId="{A27AFCC7-D8F6-44BC-A001-AAF1884E580A}" dt="2022-03-08T07:52:59.181" v="16877" actId="114"/>
          <ac:spMkLst>
            <pc:docMk/>
            <pc:sldMk cId="3693508037" sldId="2147374021"/>
            <ac:spMk id="3" creationId="{968C9730-6019-4D76-B28D-313E89390789}"/>
          </ac:spMkLst>
        </pc:spChg>
        <pc:spChg chg="del">
          <ac:chgData name="Richerzhagen, Bjoern (T CED WLN-DE)" userId="1be7a072-4164-461c-b9ed-ae3c5d97c1a8" providerId="ADAL" clId="{A27AFCC7-D8F6-44BC-A001-AAF1884E580A}" dt="2022-03-01T15:03:53.669" v="6553" actId="478"/>
          <ac:spMkLst>
            <pc:docMk/>
            <pc:sldMk cId="3693508037" sldId="2147374021"/>
            <ac:spMk id="5" creationId="{30333122-4CB5-44EF-BDCB-FE8BCF4A1840}"/>
          </ac:spMkLst>
        </pc:spChg>
        <pc:spChg chg="add mod">
          <ac:chgData name="Richerzhagen, Bjoern (T CED WLN-DE)" userId="1be7a072-4164-461c-b9ed-ae3c5d97c1a8" providerId="ADAL" clId="{A27AFCC7-D8F6-44BC-A001-AAF1884E580A}" dt="2022-03-01T15:04:26.792" v="6557"/>
          <ac:spMkLst>
            <pc:docMk/>
            <pc:sldMk cId="3693508037" sldId="2147374021"/>
            <ac:spMk id="15" creationId="{7FE4088E-5AA6-410B-80BB-01264D50E25D}"/>
          </ac:spMkLst>
        </pc:spChg>
        <pc:spChg chg="add mod">
          <ac:chgData name="Richerzhagen, Bjoern (T CED WLN-DE)" userId="1be7a072-4164-461c-b9ed-ae3c5d97c1a8" providerId="ADAL" clId="{A27AFCC7-D8F6-44BC-A001-AAF1884E580A}" dt="2022-03-01T15:04:26.792" v="6557"/>
          <ac:spMkLst>
            <pc:docMk/>
            <pc:sldMk cId="3693508037" sldId="2147374021"/>
            <ac:spMk id="18" creationId="{9B168716-196A-4F10-A47D-A8D470363E09}"/>
          </ac:spMkLst>
        </pc:spChg>
        <pc:spChg chg="add mod">
          <ac:chgData name="Richerzhagen, Bjoern (T CED WLN-DE)" userId="1be7a072-4164-461c-b9ed-ae3c5d97c1a8" providerId="ADAL" clId="{A27AFCC7-D8F6-44BC-A001-AAF1884E580A}" dt="2022-03-01T15:04:26.792" v="6557"/>
          <ac:spMkLst>
            <pc:docMk/>
            <pc:sldMk cId="3693508037" sldId="2147374021"/>
            <ac:spMk id="19" creationId="{F950D236-FEAC-444A-AE3E-999CDECBF2F3}"/>
          </ac:spMkLst>
        </pc:spChg>
        <pc:spChg chg="add mod">
          <ac:chgData name="Richerzhagen, Bjoern (T CED WLN-DE)" userId="1be7a072-4164-461c-b9ed-ae3c5d97c1a8" providerId="ADAL" clId="{A27AFCC7-D8F6-44BC-A001-AAF1884E580A}" dt="2022-03-01T15:04:26.792" v="6557"/>
          <ac:spMkLst>
            <pc:docMk/>
            <pc:sldMk cId="3693508037" sldId="2147374021"/>
            <ac:spMk id="20" creationId="{A43B019F-920F-4904-A653-3AA22F923A36}"/>
          </ac:spMkLst>
        </pc:spChg>
        <pc:spChg chg="add mod">
          <ac:chgData name="Richerzhagen, Bjoern (T CED WLN-DE)" userId="1be7a072-4164-461c-b9ed-ae3c5d97c1a8" providerId="ADAL" clId="{A27AFCC7-D8F6-44BC-A001-AAF1884E580A}" dt="2022-03-01T15:04:26.792" v="6557"/>
          <ac:spMkLst>
            <pc:docMk/>
            <pc:sldMk cId="3693508037" sldId="2147374021"/>
            <ac:spMk id="25" creationId="{3BB41715-4996-4F41-A433-EA501529F027}"/>
          </ac:spMkLst>
        </pc:spChg>
        <pc:spChg chg="add del mod">
          <ac:chgData name="Richerzhagen, Bjoern (T CED WLN-DE)" userId="1be7a072-4164-461c-b9ed-ae3c5d97c1a8" providerId="ADAL" clId="{A27AFCC7-D8F6-44BC-A001-AAF1884E580A}" dt="2022-03-07T09:35:14.228" v="16618" actId="478"/>
          <ac:spMkLst>
            <pc:docMk/>
            <pc:sldMk cId="3693508037" sldId="2147374021"/>
            <ac:spMk id="26" creationId="{54EE2EC3-CB55-448D-8728-25A367CC0E91}"/>
          </ac:spMkLst>
        </pc:spChg>
        <pc:picChg chg="add mod">
          <ac:chgData name="Richerzhagen, Bjoern (T CED WLN-DE)" userId="1be7a072-4164-461c-b9ed-ae3c5d97c1a8" providerId="ADAL" clId="{A27AFCC7-D8F6-44BC-A001-AAF1884E580A}" dt="2022-03-01T15:04:26.792" v="6557"/>
          <ac:picMkLst>
            <pc:docMk/>
            <pc:sldMk cId="3693508037" sldId="2147374021"/>
            <ac:picMk id="14" creationId="{9625D926-F71C-4986-B095-A933D57B9740}"/>
          </ac:picMkLst>
        </pc:picChg>
      </pc:sldChg>
      <pc:sldChg chg="addSp delSp modSp add mod modNotes modNotesTx">
        <pc:chgData name="Richerzhagen, Bjoern (T CED WLN-DE)" userId="1be7a072-4164-461c-b9ed-ae3c5d97c1a8" providerId="ADAL" clId="{A27AFCC7-D8F6-44BC-A001-AAF1884E580A}" dt="2022-03-08T09:15:39.393" v="27666" actId="20577"/>
        <pc:sldMkLst>
          <pc:docMk/>
          <pc:sldMk cId="2074864077" sldId="2147374022"/>
        </pc:sldMkLst>
        <pc:spChg chg="add mod">
          <ac:chgData name="Richerzhagen, Bjoern (T CED WLN-DE)" userId="1be7a072-4164-461c-b9ed-ae3c5d97c1a8" providerId="ADAL" clId="{A27AFCC7-D8F6-44BC-A001-AAF1884E580A}" dt="2022-03-08T09:11:59.771" v="27070" actId="20577"/>
          <ac:spMkLst>
            <pc:docMk/>
            <pc:sldMk cId="2074864077" sldId="2147374022"/>
            <ac:spMk id="3" creationId="{9F266F7C-986B-4F78-AFD1-C32EB661E263}"/>
          </ac:spMkLst>
        </pc:spChg>
        <pc:spChg chg="mod">
          <ac:chgData name="Richerzhagen, Bjoern (T CED WLN-DE)" userId="1be7a072-4164-461c-b9ed-ae3c5d97c1a8" providerId="ADAL" clId="{A27AFCC7-D8F6-44BC-A001-AAF1884E580A}" dt="2022-03-08T08:01:56.863" v="17050" actId="113"/>
          <ac:spMkLst>
            <pc:docMk/>
            <pc:sldMk cId="2074864077" sldId="2147374022"/>
            <ac:spMk id="5" creationId="{30333122-4CB5-44EF-BDCB-FE8BCF4A1840}"/>
          </ac:spMkLst>
        </pc:spChg>
        <pc:spChg chg="add del mod">
          <ac:chgData name="Richerzhagen, Bjoern (T CED WLN-DE)" userId="1be7a072-4164-461c-b9ed-ae3c5d97c1a8" providerId="ADAL" clId="{A27AFCC7-D8F6-44BC-A001-AAF1884E580A}" dt="2022-03-02T14:38:53.045" v="16143" actId="478"/>
          <ac:spMkLst>
            <pc:docMk/>
            <pc:sldMk cId="2074864077" sldId="2147374022"/>
            <ac:spMk id="7" creationId="{C78DE950-B82E-4D10-87CE-CA277815C98E}"/>
          </ac:spMkLst>
        </pc:spChg>
        <pc:spChg chg="add mod">
          <ac:chgData name="Richerzhagen, Bjoern (T CED WLN-DE)" userId="1be7a072-4164-461c-b9ed-ae3c5d97c1a8" providerId="ADAL" clId="{A27AFCC7-D8F6-44BC-A001-AAF1884E580A}" dt="2022-03-02T07:20:32.340" v="9928" actId="1035"/>
          <ac:spMkLst>
            <pc:docMk/>
            <pc:sldMk cId="2074864077" sldId="2147374022"/>
            <ac:spMk id="13" creationId="{01CA1750-CFCE-4D41-9B91-1533B12BDAFC}"/>
          </ac:spMkLst>
        </pc:spChg>
        <pc:spChg chg="mod">
          <ac:chgData name="Richerzhagen, Bjoern (T CED WLN-DE)" userId="1be7a072-4164-461c-b9ed-ae3c5d97c1a8" providerId="ADAL" clId="{A27AFCC7-D8F6-44BC-A001-AAF1884E580A}" dt="2022-03-01T15:14:22.993" v="7076"/>
          <ac:spMkLst>
            <pc:docMk/>
            <pc:sldMk cId="2074864077" sldId="2147374022"/>
            <ac:spMk id="19" creationId="{A1DD4AFC-6D8D-48A4-82A2-C3FEC463B26D}"/>
          </ac:spMkLst>
        </pc:spChg>
        <pc:spChg chg="mod">
          <ac:chgData name="Richerzhagen, Bjoern (T CED WLN-DE)" userId="1be7a072-4164-461c-b9ed-ae3c5d97c1a8" providerId="ADAL" clId="{A27AFCC7-D8F6-44BC-A001-AAF1884E580A}" dt="2022-03-01T15:14:22.993" v="7076"/>
          <ac:spMkLst>
            <pc:docMk/>
            <pc:sldMk cId="2074864077" sldId="2147374022"/>
            <ac:spMk id="20" creationId="{5759E0E3-140B-4E62-9C25-CC174F6E428B}"/>
          </ac:spMkLst>
        </pc:spChg>
        <pc:spChg chg="mod">
          <ac:chgData name="Richerzhagen, Bjoern (T CED WLN-DE)" userId="1be7a072-4164-461c-b9ed-ae3c5d97c1a8" providerId="ADAL" clId="{A27AFCC7-D8F6-44BC-A001-AAF1884E580A}" dt="2022-03-01T15:14:22.993" v="7076"/>
          <ac:spMkLst>
            <pc:docMk/>
            <pc:sldMk cId="2074864077" sldId="2147374022"/>
            <ac:spMk id="25" creationId="{B6FC6A07-9CFA-4E27-8B97-4B8D919E16F5}"/>
          </ac:spMkLst>
        </pc:spChg>
        <pc:spChg chg="mod">
          <ac:chgData name="Richerzhagen, Bjoern (T CED WLN-DE)" userId="1be7a072-4164-461c-b9ed-ae3c5d97c1a8" providerId="ADAL" clId="{A27AFCC7-D8F6-44BC-A001-AAF1884E580A}" dt="2022-03-01T15:14:22.993" v="7076"/>
          <ac:spMkLst>
            <pc:docMk/>
            <pc:sldMk cId="2074864077" sldId="2147374022"/>
            <ac:spMk id="26" creationId="{F545AF24-CAC9-4500-92A3-B8718915FDD4}"/>
          </ac:spMkLst>
        </pc:spChg>
        <pc:spChg chg="add del mod">
          <ac:chgData name="Richerzhagen, Bjoern (T CED WLN-DE)" userId="1be7a072-4164-461c-b9ed-ae3c5d97c1a8" providerId="ADAL" clId="{A27AFCC7-D8F6-44BC-A001-AAF1884E580A}" dt="2022-03-02T14:37:19.394" v="16109" actId="478"/>
          <ac:spMkLst>
            <pc:docMk/>
            <pc:sldMk cId="2074864077" sldId="2147374022"/>
            <ac:spMk id="27" creationId="{937C30E1-D48B-4417-8D46-CD343D7D70EE}"/>
          </ac:spMkLst>
        </pc:spChg>
        <pc:spChg chg="add del mod">
          <ac:chgData name="Richerzhagen, Bjoern (T CED WLN-DE)" userId="1be7a072-4164-461c-b9ed-ae3c5d97c1a8" providerId="ADAL" clId="{A27AFCC7-D8F6-44BC-A001-AAF1884E580A}" dt="2022-03-02T07:20:20.617" v="9911" actId="478"/>
          <ac:spMkLst>
            <pc:docMk/>
            <pc:sldMk cId="2074864077" sldId="2147374022"/>
            <ac:spMk id="28" creationId="{D856398C-36DE-4FD6-B277-AAD1DB624665}"/>
          </ac:spMkLst>
        </pc:spChg>
        <pc:spChg chg="add mod ord">
          <ac:chgData name="Richerzhagen, Bjoern (T CED WLN-DE)" userId="1be7a072-4164-461c-b9ed-ae3c5d97c1a8" providerId="ADAL" clId="{A27AFCC7-D8F6-44BC-A001-AAF1884E580A}" dt="2022-03-07T09:38:52.132" v="16688" actId="1076"/>
          <ac:spMkLst>
            <pc:docMk/>
            <pc:sldMk cId="2074864077" sldId="2147374022"/>
            <ac:spMk id="29" creationId="{94C0FC80-EB74-4497-9DFD-4A67F2E74FBE}"/>
          </ac:spMkLst>
        </pc:spChg>
        <pc:spChg chg="add mod ord">
          <ac:chgData name="Richerzhagen, Bjoern (T CED WLN-DE)" userId="1be7a072-4164-461c-b9ed-ae3c5d97c1a8" providerId="ADAL" clId="{A27AFCC7-D8F6-44BC-A001-AAF1884E580A}" dt="2022-03-08T09:12:04.826" v="27072" actId="1076"/>
          <ac:spMkLst>
            <pc:docMk/>
            <pc:sldMk cId="2074864077" sldId="2147374022"/>
            <ac:spMk id="30" creationId="{80EF5B90-86B0-40D5-A3D2-23FA776D12CE}"/>
          </ac:spMkLst>
        </pc:spChg>
        <pc:spChg chg="add del mod">
          <ac:chgData name="Richerzhagen, Bjoern (T CED WLN-DE)" userId="1be7a072-4164-461c-b9ed-ae3c5d97c1a8" providerId="ADAL" clId="{A27AFCC7-D8F6-44BC-A001-AAF1884E580A}" dt="2022-03-02T14:37:16.763" v="16108" actId="478"/>
          <ac:spMkLst>
            <pc:docMk/>
            <pc:sldMk cId="2074864077" sldId="2147374022"/>
            <ac:spMk id="31" creationId="{99E5531D-B959-430B-A783-291C8138C155}"/>
          </ac:spMkLst>
        </pc:spChg>
        <pc:spChg chg="add mod">
          <ac:chgData name="Richerzhagen, Bjoern (T CED WLN-DE)" userId="1be7a072-4164-461c-b9ed-ae3c5d97c1a8" providerId="ADAL" clId="{A27AFCC7-D8F6-44BC-A001-AAF1884E580A}" dt="2022-03-08T09:12:10.226" v="27075" actId="20577"/>
          <ac:spMkLst>
            <pc:docMk/>
            <pc:sldMk cId="2074864077" sldId="2147374022"/>
            <ac:spMk id="31" creationId="{CBD7D065-7814-4111-853B-94C4FA923B73}"/>
          </ac:spMkLst>
        </pc:spChg>
        <pc:spChg chg="add del mod">
          <ac:chgData name="Richerzhagen, Bjoern (T CED WLN-DE)" userId="1be7a072-4164-461c-b9ed-ae3c5d97c1a8" providerId="ADAL" clId="{A27AFCC7-D8F6-44BC-A001-AAF1884E580A}" dt="2022-03-07T09:36:33.203" v="16629" actId="478"/>
          <ac:spMkLst>
            <pc:docMk/>
            <pc:sldMk cId="2074864077" sldId="2147374022"/>
            <ac:spMk id="32" creationId="{60CB3257-6EA1-4096-9D90-13A20D109AED}"/>
          </ac:spMkLst>
        </pc:spChg>
        <pc:spChg chg="add del mod">
          <ac:chgData name="Richerzhagen, Bjoern (T CED WLN-DE)" userId="1be7a072-4164-461c-b9ed-ae3c5d97c1a8" providerId="ADAL" clId="{A27AFCC7-D8F6-44BC-A001-AAF1884E580A}" dt="2022-03-07T09:36:35.028" v="16630" actId="478"/>
          <ac:spMkLst>
            <pc:docMk/>
            <pc:sldMk cId="2074864077" sldId="2147374022"/>
            <ac:spMk id="33" creationId="{64BBF806-626B-4067-93A9-83E796D546D4}"/>
          </ac:spMkLst>
        </pc:spChg>
        <pc:spChg chg="add del mod">
          <ac:chgData name="Richerzhagen, Bjoern (T CED WLN-DE)" userId="1be7a072-4164-461c-b9ed-ae3c5d97c1a8" providerId="ADAL" clId="{A27AFCC7-D8F6-44BC-A001-AAF1884E580A}" dt="2022-03-07T09:36:36.210" v="16631" actId="478"/>
          <ac:spMkLst>
            <pc:docMk/>
            <pc:sldMk cId="2074864077" sldId="2147374022"/>
            <ac:spMk id="34" creationId="{0BB2067F-12B3-4D63-BF1E-51F4E609D4A8}"/>
          </ac:spMkLst>
        </pc:spChg>
        <pc:spChg chg="add mod">
          <ac:chgData name="Richerzhagen, Bjoern (T CED WLN-DE)" userId="1be7a072-4164-461c-b9ed-ae3c5d97c1a8" providerId="ADAL" clId="{A27AFCC7-D8F6-44BC-A001-AAF1884E580A}" dt="2022-03-07T09:40:30.435" v="16715" actId="122"/>
          <ac:spMkLst>
            <pc:docMk/>
            <pc:sldMk cId="2074864077" sldId="2147374022"/>
            <ac:spMk id="35" creationId="{389857D5-0741-4908-BCFB-82E8C64905A9}"/>
          </ac:spMkLst>
        </pc:spChg>
        <pc:spChg chg="add mod">
          <ac:chgData name="Richerzhagen, Bjoern (T CED WLN-DE)" userId="1be7a072-4164-461c-b9ed-ae3c5d97c1a8" providerId="ADAL" clId="{A27AFCC7-D8F6-44BC-A001-AAF1884E580A}" dt="2022-03-07T09:40:30.435" v="16715" actId="122"/>
          <ac:spMkLst>
            <pc:docMk/>
            <pc:sldMk cId="2074864077" sldId="2147374022"/>
            <ac:spMk id="36" creationId="{395DF281-904E-404B-8F8C-1A90D9440C1A}"/>
          </ac:spMkLst>
        </pc:spChg>
        <pc:spChg chg="add mod">
          <ac:chgData name="Richerzhagen, Bjoern (T CED WLN-DE)" userId="1be7a072-4164-461c-b9ed-ae3c5d97c1a8" providerId="ADAL" clId="{A27AFCC7-D8F6-44BC-A001-AAF1884E580A}" dt="2022-03-07T09:40:30.435" v="16715" actId="122"/>
          <ac:spMkLst>
            <pc:docMk/>
            <pc:sldMk cId="2074864077" sldId="2147374022"/>
            <ac:spMk id="37" creationId="{606FFCE7-ACEB-4AF5-9040-38090B1423CF}"/>
          </ac:spMkLst>
        </pc:spChg>
        <pc:spChg chg="add mod">
          <ac:chgData name="Richerzhagen, Bjoern (T CED WLN-DE)" userId="1be7a072-4164-461c-b9ed-ae3c5d97c1a8" providerId="ADAL" clId="{A27AFCC7-D8F6-44BC-A001-AAF1884E580A}" dt="2022-03-07T09:40:16.385" v="16712" actId="1076"/>
          <ac:spMkLst>
            <pc:docMk/>
            <pc:sldMk cId="2074864077" sldId="2147374022"/>
            <ac:spMk id="40" creationId="{0B42F371-E677-4F2A-8B9B-BDC80A5E6AFD}"/>
          </ac:spMkLst>
        </pc:spChg>
        <pc:grpChg chg="add mod">
          <ac:chgData name="Richerzhagen, Bjoern (T CED WLN-DE)" userId="1be7a072-4164-461c-b9ed-ae3c5d97c1a8" providerId="ADAL" clId="{A27AFCC7-D8F6-44BC-A001-AAF1884E580A}" dt="2022-03-07T09:40:20.489" v="16714" actId="1076"/>
          <ac:grpSpMkLst>
            <pc:docMk/>
            <pc:sldMk cId="2074864077" sldId="2147374022"/>
            <ac:grpSpMk id="2" creationId="{D0D000BC-C626-47EC-970B-4F2C15D3900F}"/>
          </ac:grpSpMkLst>
        </pc:grpChg>
        <pc:grpChg chg="add mod">
          <ac:chgData name="Richerzhagen, Bjoern (T CED WLN-DE)" userId="1be7a072-4164-461c-b9ed-ae3c5d97c1a8" providerId="ADAL" clId="{A27AFCC7-D8F6-44BC-A001-AAF1884E580A}" dt="2022-03-07T09:39:07.170" v="16702" actId="1076"/>
          <ac:grpSpMkLst>
            <pc:docMk/>
            <pc:sldMk cId="2074864077" sldId="2147374022"/>
            <ac:grpSpMk id="18" creationId="{C6DC9706-1911-4A86-9D69-427254ECAD1A}"/>
          </ac:grpSpMkLst>
        </pc:grpChg>
        <pc:picChg chg="add mod">
          <ac:chgData name="Richerzhagen, Bjoern (T CED WLN-DE)" userId="1be7a072-4164-461c-b9ed-ae3c5d97c1a8" providerId="ADAL" clId="{A27AFCC7-D8F6-44BC-A001-AAF1884E580A}" dt="2022-03-02T07:20:27.963" v="9917" actId="14100"/>
          <ac:picMkLst>
            <pc:docMk/>
            <pc:sldMk cId="2074864077" sldId="2147374022"/>
            <ac:picMk id="12" creationId="{FB16BEA5-0040-4E59-BE22-197143570CF7}"/>
          </ac:picMkLst>
        </pc:picChg>
        <pc:cxnChg chg="add mod">
          <ac:chgData name="Richerzhagen, Bjoern (T CED WLN-DE)" userId="1be7a072-4164-461c-b9ed-ae3c5d97c1a8" providerId="ADAL" clId="{A27AFCC7-D8F6-44BC-A001-AAF1884E580A}" dt="2022-03-07T09:40:13.931" v="16711" actId="1076"/>
          <ac:cxnSpMkLst>
            <pc:docMk/>
            <pc:sldMk cId="2074864077" sldId="2147374022"/>
            <ac:cxnSpMk id="10" creationId="{E13FC0F1-5972-4EA8-9F03-0C6216FF72B2}"/>
          </ac:cxnSpMkLst>
        </pc:cxnChg>
        <pc:cxnChg chg="add mod">
          <ac:chgData name="Richerzhagen, Bjoern (T CED WLN-DE)" userId="1be7a072-4164-461c-b9ed-ae3c5d97c1a8" providerId="ADAL" clId="{A27AFCC7-D8F6-44BC-A001-AAF1884E580A}" dt="2022-03-07T09:40:13.931" v="16711" actId="1076"/>
          <ac:cxnSpMkLst>
            <pc:docMk/>
            <pc:sldMk cId="2074864077" sldId="2147374022"/>
            <ac:cxnSpMk id="38" creationId="{3F0C4B81-5D13-46D3-A4A4-66C05579352A}"/>
          </ac:cxnSpMkLst>
        </pc:cxnChg>
        <pc:cxnChg chg="add mod">
          <ac:chgData name="Richerzhagen, Bjoern (T CED WLN-DE)" userId="1be7a072-4164-461c-b9ed-ae3c5d97c1a8" providerId="ADAL" clId="{A27AFCC7-D8F6-44BC-A001-AAF1884E580A}" dt="2022-03-07T09:40:13.931" v="16711" actId="1076"/>
          <ac:cxnSpMkLst>
            <pc:docMk/>
            <pc:sldMk cId="2074864077" sldId="2147374022"/>
            <ac:cxnSpMk id="39" creationId="{8022EFC1-EA03-47AA-97AE-5796079ECF13}"/>
          </ac:cxnSpMkLst>
        </pc:cxnChg>
      </pc:sldChg>
      <pc:sldChg chg="modSp add del mod">
        <pc:chgData name="Richerzhagen, Bjoern (T CED WLN-DE)" userId="1be7a072-4164-461c-b9ed-ae3c5d97c1a8" providerId="ADAL" clId="{A27AFCC7-D8F6-44BC-A001-AAF1884E580A}" dt="2022-03-02T08:21:30.485" v="11664" actId="47"/>
        <pc:sldMkLst>
          <pc:docMk/>
          <pc:sldMk cId="798680783" sldId="2147374023"/>
        </pc:sldMkLst>
        <pc:spChg chg="mod">
          <ac:chgData name="Richerzhagen, Bjoern (T CED WLN-DE)" userId="1be7a072-4164-461c-b9ed-ae3c5d97c1a8" providerId="ADAL" clId="{A27AFCC7-D8F6-44BC-A001-AAF1884E580A}" dt="2022-03-01T15:15:14.677" v="7080" actId="207"/>
          <ac:spMkLst>
            <pc:docMk/>
            <pc:sldMk cId="798680783" sldId="2147374023"/>
            <ac:spMk id="17" creationId="{9D64EED9-9087-412A-A548-7A4A8F8C29AC}"/>
          </ac:spMkLst>
        </pc:spChg>
        <pc:spChg chg="mod">
          <ac:chgData name="Richerzhagen, Bjoern (T CED WLN-DE)" userId="1be7a072-4164-461c-b9ed-ae3c5d97c1a8" providerId="ADAL" clId="{A27AFCC7-D8F6-44BC-A001-AAF1884E580A}" dt="2022-03-01T15:15:14.677" v="7080" actId="207"/>
          <ac:spMkLst>
            <pc:docMk/>
            <pc:sldMk cId="798680783" sldId="2147374023"/>
            <ac:spMk id="23" creationId="{646214A0-DF02-498A-A1E8-848391364C48}"/>
          </ac:spMkLst>
        </pc:spChg>
        <pc:spChg chg="mod">
          <ac:chgData name="Richerzhagen, Bjoern (T CED WLN-DE)" userId="1be7a072-4164-461c-b9ed-ae3c5d97c1a8" providerId="ADAL" clId="{A27AFCC7-D8F6-44BC-A001-AAF1884E580A}" dt="2022-03-01T15:15:14.677" v="7080" actId="207"/>
          <ac:spMkLst>
            <pc:docMk/>
            <pc:sldMk cId="798680783" sldId="2147374023"/>
            <ac:spMk id="24" creationId="{0B515B0F-17DD-4022-8903-3C9B0156F02C}"/>
          </ac:spMkLst>
        </pc:spChg>
      </pc:sldChg>
      <pc:sldChg chg="modSp add del mod">
        <pc:chgData name="Richerzhagen, Bjoern (T CED WLN-DE)" userId="1be7a072-4164-461c-b9ed-ae3c5d97c1a8" providerId="ADAL" clId="{A27AFCC7-D8F6-44BC-A001-AAF1884E580A}" dt="2022-03-02T08:21:50.415" v="11669" actId="47"/>
        <pc:sldMkLst>
          <pc:docMk/>
          <pc:sldMk cId="2545316058" sldId="2147374024"/>
        </pc:sldMkLst>
        <pc:spChg chg="mod">
          <ac:chgData name="Richerzhagen, Bjoern (T CED WLN-DE)" userId="1be7a072-4164-461c-b9ed-ae3c5d97c1a8" providerId="ADAL" clId="{A27AFCC7-D8F6-44BC-A001-AAF1884E580A}" dt="2022-03-01T15:15:27.470" v="7082" actId="207"/>
          <ac:spMkLst>
            <pc:docMk/>
            <pc:sldMk cId="2545316058" sldId="2147374024"/>
            <ac:spMk id="5" creationId="{9781BFBE-B86A-4F60-AFC4-BEF92648CB97}"/>
          </ac:spMkLst>
        </pc:spChg>
        <pc:spChg chg="mod">
          <ac:chgData name="Richerzhagen, Bjoern (T CED WLN-DE)" userId="1be7a072-4164-461c-b9ed-ae3c5d97c1a8" providerId="ADAL" clId="{A27AFCC7-D8F6-44BC-A001-AAF1884E580A}" dt="2022-03-01T15:15:27.470" v="7082" actId="207"/>
          <ac:spMkLst>
            <pc:docMk/>
            <pc:sldMk cId="2545316058" sldId="2147374024"/>
            <ac:spMk id="23" creationId="{646214A0-DF02-498A-A1E8-848391364C48}"/>
          </ac:spMkLst>
        </pc:spChg>
        <pc:spChg chg="mod">
          <ac:chgData name="Richerzhagen, Bjoern (T CED WLN-DE)" userId="1be7a072-4164-461c-b9ed-ae3c5d97c1a8" providerId="ADAL" clId="{A27AFCC7-D8F6-44BC-A001-AAF1884E580A}" dt="2022-03-01T15:15:27.470" v="7082" actId="207"/>
          <ac:spMkLst>
            <pc:docMk/>
            <pc:sldMk cId="2545316058" sldId="2147374024"/>
            <ac:spMk id="24" creationId="{0B515B0F-17DD-4022-8903-3C9B0156F02C}"/>
          </ac:spMkLst>
        </pc:spChg>
      </pc:sldChg>
      <pc:sldChg chg="modSp add del mod">
        <pc:chgData name="Richerzhagen, Bjoern (T CED WLN-DE)" userId="1be7a072-4164-461c-b9ed-ae3c5d97c1a8" providerId="ADAL" clId="{A27AFCC7-D8F6-44BC-A001-AAF1884E580A}" dt="2022-03-02T08:21:59.425" v="11671" actId="47"/>
        <pc:sldMkLst>
          <pc:docMk/>
          <pc:sldMk cId="2283070846" sldId="2147374025"/>
        </pc:sldMkLst>
        <pc:spChg chg="mod">
          <ac:chgData name="Richerzhagen, Bjoern (T CED WLN-DE)" userId="1be7a072-4164-461c-b9ed-ae3c5d97c1a8" providerId="ADAL" clId="{A27AFCC7-D8F6-44BC-A001-AAF1884E580A}" dt="2022-03-01T15:15:41.140" v="7084" actId="207"/>
          <ac:spMkLst>
            <pc:docMk/>
            <pc:sldMk cId="2283070846" sldId="2147374025"/>
            <ac:spMk id="5" creationId="{9781BFBE-B86A-4F60-AFC4-BEF92648CB97}"/>
          </ac:spMkLst>
        </pc:spChg>
        <pc:spChg chg="mod">
          <ac:chgData name="Richerzhagen, Bjoern (T CED WLN-DE)" userId="1be7a072-4164-461c-b9ed-ae3c5d97c1a8" providerId="ADAL" clId="{A27AFCC7-D8F6-44BC-A001-AAF1884E580A}" dt="2022-03-01T15:15:41.140" v="7084" actId="207"/>
          <ac:spMkLst>
            <pc:docMk/>
            <pc:sldMk cId="2283070846" sldId="2147374025"/>
            <ac:spMk id="17" creationId="{9D64EED9-9087-412A-A548-7A4A8F8C29AC}"/>
          </ac:spMkLst>
        </pc:spChg>
        <pc:spChg chg="mod">
          <ac:chgData name="Richerzhagen, Bjoern (T CED WLN-DE)" userId="1be7a072-4164-461c-b9ed-ae3c5d97c1a8" providerId="ADAL" clId="{A27AFCC7-D8F6-44BC-A001-AAF1884E580A}" dt="2022-03-01T15:15:41.140" v="7084" actId="207"/>
          <ac:spMkLst>
            <pc:docMk/>
            <pc:sldMk cId="2283070846" sldId="2147374025"/>
            <ac:spMk id="24" creationId="{0B515B0F-17DD-4022-8903-3C9B0156F02C}"/>
          </ac:spMkLst>
        </pc:spChg>
      </pc:sldChg>
      <pc:sldChg chg="modSp add del mod">
        <pc:chgData name="Richerzhagen, Bjoern (T CED WLN-DE)" userId="1be7a072-4164-461c-b9ed-ae3c5d97c1a8" providerId="ADAL" clId="{A27AFCC7-D8F6-44BC-A001-AAF1884E580A}" dt="2022-03-02T08:22:09.489" v="11673" actId="47"/>
        <pc:sldMkLst>
          <pc:docMk/>
          <pc:sldMk cId="975312409" sldId="2147374026"/>
        </pc:sldMkLst>
        <pc:spChg chg="mod">
          <ac:chgData name="Richerzhagen, Bjoern (T CED WLN-DE)" userId="1be7a072-4164-461c-b9ed-ae3c5d97c1a8" providerId="ADAL" clId="{A27AFCC7-D8F6-44BC-A001-AAF1884E580A}" dt="2022-03-01T15:15:49.673" v="7086" actId="207"/>
          <ac:spMkLst>
            <pc:docMk/>
            <pc:sldMk cId="975312409" sldId="2147374026"/>
            <ac:spMk id="5" creationId="{9781BFBE-B86A-4F60-AFC4-BEF92648CB97}"/>
          </ac:spMkLst>
        </pc:spChg>
        <pc:spChg chg="mod">
          <ac:chgData name="Richerzhagen, Bjoern (T CED WLN-DE)" userId="1be7a072-4164-461c-b9ed-ae3c5d97c1a8" providerId="ADAL" clId="{A27AFCC7-D8F6-44BC-A001-AAF1884E580A}" dt="2022-03-01T15:15:49.673" v="7086" actId="207"/>
          <ac:spMkLst>
            <pc:docMk/>
            <pc:sldMk cId="975312409" sldId="2147374026"/>
            <ac:spMk id="17" creationId="{9D64EED9-9087-412A-A548-7A4A8F8C29AC}"/>
          </ac:spMkLst>
        </pc:spChg>
        <pc:spChg chg="mod">
          <ac:chgData name="Richerzhagen, Bjoern (T CED WLN-DE)" userId="1be7a072-4164-461c-b9ed-ae3c5d97c1a8" providerId="ADAL" clId="{A27AFCC7-D8F6-44BC-A001-AAF1884E580A}" dt="2022-03-01T15:15:49.673" v="7086" actId="207"/>
          <ac:spMkLst>
            <pc:docMk/>
            <pc:sldMk cId="975312409" sldId="2147374026"/>
            <ac:spMk id="23" creationId="{646214A0-DF02-498A-A1E8-848391364C48}"/>
          </ac:spMkLst>
        </pc:spChg>
      </pc:sldChg>
      <pc:sldChg chg="addSp delSp modSp new mod ord modShow chgLayout modNotes">
        <pc:chgData name="Richerzhagen, Bjoern (T CED WLN-DE)" userId="1be7a072-4164-461c-b9ed-ae3c5d97c1a8" providerId="ADAL" clId="{A27AFCC7-D8F6-44BC-A001-AAF1884E580A}" dt="2022-03-02T14:15:26.713" v="15227" actId="729"/>
        <pc:sldMkLst>
          <pc:docMk/>
          <pc:sldMk cId="793849896" sldId="2147374027"/>
        </pc:sldMkLst>
        <pc:spChg chg="add del">
          <ac:chgData name="Richerzhagen, Bjoern (T CED WLN-DE)" userId="1be7a072-4164-461c-b9ed-ae3c5d97c1a8" providerId="ADAL" clId="{A27AFCC7-D8F6-44BC-A001-AAF1884E580A}" dt="2022-03-01T15:58:27.888" v="8152" actId="478"/>
          <ac:spMkLst>
            <pc:docMk/>
            <pc:sldMk cId="793849896" sldId="2147374027"/>
            <ac:spMk id="2" creationId="{468CBB5A-0593-47BA-AF98-0638D2034217}"/>
          </ac:spMkLst>
        </pc:spChg>
        <pc:spChg chg="del">
          <ac:chgData name="Richerzhagen, Bjoern (T CED WLN-DE)" userId="1be7a072-4164-461c-b9ed-ae3c5d97c1a8" providerId="ADAL" clId="{A27AFCC7-D8F6-44BC-A001-AAF1884E580A}" dt="2022-03-01T15:55:28.021" v="8112" actId="478"/>
          <ac:spMkLst>
            <pc:docMk/>
            <pc:sldMk cId="793849896" sldId="2147374027"/>
            <ac:spMk id="3" creationId="{CE75511F-F9D3-4306-95BE-756288A238C9}"/>
          </ac:spMkLst>
        </pc:spChg>
        <pc:spChg chg="add del mod">
          <ac:chgData name="Richerzhagen, Bjoern (T CED WLN-DE)" userId="1be7a072-4164-461c-b9ed-ae3c5d97c1a8" providerId="ADAL" clId="{A27AFCC7-D8F6-44BC-A001-AAF1884E580A}" dt="2022-03-01T15:54:28.178" v="8093"/>
          <ac:spMkLst>
            <pc:docMk/>
            <pc:sldMk cId="793849896" sldId="2147374027"/>
            <ac:spMk id="4" creationId="{CF4B7889-01A7-44A2-8A92-9608BA893A73}"/>
          </ac:spMkLst>
        </pc:spChg>
        <pc:spChg chg="add del mod">
          <ac:chgData name="Richerzhagen, Bjoern (T CED WLN-DE)" userId="1be7a072-4164-461c-b9ed-ae3c5d97c1a8" providerId="ADAL" clId="{A27AFCC7-D8F6-44BC-A001-AAF1884E580A}" dt="2022-03-01T15:54:28.178" v="8093"/>
          <ac:spMkLst>
            <pc:docMk/>
            <pc:sldMk cId="793849896" sldId="2147374027"/>
            <ac:spMk id="5" creationId="{7AE563A3-056E-46DB-BD07-826769D4E2EA}"/>
          </ac:spMkLst>
        </pc:spChg>
        <pc:spChg chg="add del mod">
          <ac:chgData name="Richerzhagen, Bjoern (T CED WLN-DE)" userId="1be7a072-4164-461c-b9ed-ae3c5d97c1a8" providerId="ADAL" clId="{A27AFCC7-D8F6-44BC-A001-AAF1884E580A}" dt="2022-03-01T15:54:28.178" v="8093"/>
          <ac:spMkLst>
            <pc:docMk/>
            <pc:sldMk cId="793849896" sldId="2147374027"/>
            <ac:spMk id="6" creationId="{656E2C94-5584-4548-9E9E-D221D5F31DC2}"/>
          </ac:spMkLst>
        </pc:spChg>
        <pc:spChg chg="add del mod">
          <ac:chgData name="Richerzhagen, Bjoern (T CED WLN-DE)" userId="1be7a072-4164-461c-b9ed-ae3c5d97c1a8" providerId="ADAL" clId="{A27AFCC7-D8F6-44BC-A001-AAF1884E580A}" dt="2022-03-01T15:54:28.178" v="8093"/>
          <ac:spMkLst>
            <pc:docMk/>
            <pc:sldMk cId="793849896" sldId="2147374027"/>
            <ac:spMk id="7" creationId="{A32AADAD-CB68-44E5-8AC5-67B5B5F553E9}"/>
          </ac:spMkLst>
        </pc:spChg>
        <pc:spChg chg="add del mod">
          <ac:chgData name="Richerzhagen, Bjoern (T CED WLN-DE)" userId="1be7a072-4164-461c-b9ed-ae3c5d97c1a8" providerId="ADAL" clId="{A27AFCC7-D8F6-44BC-A001-AAF1884E580A}" dt="2022-03-01T15:54:28.178" v="8093"/>
          <ac:spMkLst>
            <pc:docMk/>
            <pc:sldMk cId="793849896" sldId="2147374027"/>
            <ac:spMk id="10" creationId="{4B6E09F4-451E-4DF0-9A9E-E543B2484504}"/>
          </ac:spMkLst>
        </pc:spChg>
        <pc:spChg chg="add del mod">
          <ac:chgData name="Richerzhagen, Bjoern (T CED WLN-DE)" userId="1be7a072-4164-461c-b9ed-ae3c5d97c1a8" providerId="ADAL" clId="{A27AFCC7-D8F6-44BC-A001-AAF1884E580A}" dt="2022-03-01T15:54:28.178" v="8093"/>
          <ac:spMkLst>
            <pc:docMk/>
            <pc:sldMk cId="793849896" sldId="2147374027"/>
            <ac:spMk id="11" creationId="{F0F4D53E-7A92-4DA2-BE05-BFB6B679011B}"/>
          </ac:spMkLst>
        </pc:spChg>
        <pc:spChg chg="add del mod">
          <ac:chgData name="Richerzhagen, Bjoern (T CED WLN-DE)" userId="1be7a072-4164-461c-b9ed-ae3c5d97c1a8" providerId="ADAL" clId="{A27AFCC7-D8F6-44BC-A001-AAF1884E580A}" dt="2022-03-01T15:54:28.178" v="8093"/>
          <ac:spMkLst>
            <pc:docMk/>
            <pc:sldMk cId="793849896" sldId="2147374027"/>
            <ac:spMk id="13" creationId="{8F67A493-A3C3-4FAF-B698-7248CD61DEE4}"/>
          </ac:spMkLst>
        </pc:spChg>
        <pc:spChg chg="add del mod">
          <ac:chgData name="Richerzhagen, Bjoern (T CED WLN-DE)" userId="1be7a072-4164-461c-b9ed-ae3c5d97c1a8" providerId="ADAL" clId="{A27AFCC7-D8F6-44BC-A001-AAF1884E580A}" dt="2022-03-01T15:54:28.178" v="8093"/>
          <ac:spMkLst>
            <pc:docMk/>
            <pc:sldMk cId="793849896" sldId="2147374027"/>
            <ac:spMk id="16" creationId="{BAF515E8-0D6A-4614-BB13-AB0A282CA89C}"/>
          </ac:spMkLst>
        </pc:spChg>
        <pc:spChg chg="add del mod">
          <ac:chgData name="Richerzhagen, Bjoern (T CED WLN-DE)" userId="1be7a072-4164-461c-b9ed-ae3c5d97c1a8" providerId="ADAL" clId="{A27AFCC7-D8F6-44BC-A001-AAF1884E580A}" dt="2022-03-01T15:54:28.178" v="8093"/>
          <ac:spMkLst>
            <pc:docMk/>
            <pc:sldMk cId="793849896" sldId="2147374027"/>
            <ac:spMk id="18" creationId="{8711DECB-8CB3-4192-872C-997CFBB912BD}"/>
          </ac:spMkLst>
        </pc:spChg>
        <pc:spChg chg="add del mod">
          <ac:chgData name="Richerzhagen, Bjoern (T CED WLN-DE)" userId="1be7a072-4164-461c-b9ed-ae3c5d97c1a8" providerId="ADAL" clId="{A27AFCC7-D8F6-44BC-A001-AAF1884E580A}" dt="2022-03-01T15:54:28.178" v="8093"/>
          <ac:spMkLst>
            <pc:docMk/>
            <pc:sldMk cId="793849896" sldId="2147374027"/>
            <ac:spMk id="19" creationId="{A6F2CBEB-6C89-4F8F-ACFE-B4E909A85E1B}"/>
          </ac:spMkLst>
        </pc:spChg>
        <pc:spChg chg="add del mod">
          <ac:chgData name="Richerzhagen, Bjoern (T CED WLN-DE)" userId="1be7a072-4164-461c-b9ed-ae3c5d97c1a8" providerId="ADAL" clId="{A27AFCC7-D8F6-44BC-A001-AAF1884E580A}" dt="2022-03-01T15:54:28.178" v="8093"/>
          <ac:spMkLst>
            <pc:docMk/>
            <pc:sldMk cId="793849896" sldId="2147374027"/>
            <ac:spMk id="20" creationId="{AF1A5FA6-D766-4D30-BBAF-996F15281701}"/>
          </ac:spMkLst>
        </pc:spChg>
        <pc:spChg chg="add del mod">
          <ac:chgData name="Richerzhagen, Bjoern (T CED WLN-DE)" userId="1be7a072-4164-461c-b9ed-ae3c5d97c1a8" providerId="ADAL" clId="{A27AFCC7-D8F6-44BC-A001-AAF1884E580A}" dt="2022-03-01T15:54:28.178" v="8093"/>
          <ac:spMkLst>
            <pc:docMk/>
            <pc:sldMk cId="793849896" sldId="2147374027"/>
            <ac:spMk id="21" creationId="{9EB95237-39A9-45A3-A7D0-58246CA51622}"/>
          </ac:spMkLst>
        </pc:spChg>
        <pc:spChg chg="add del mod">
          <ac:chgData name="Richerzhagen, Bjoern (T CED WLN-DE)" userId="1be7a072-4164-461c-b9ed-ae3c5d97c1a8" providerId="ADAL" clId="{A27AFCC7-D8F6-44BC-A001-AAF1884E580A}" dt="2022-03-01T15:54:28.178" v="8093"/>
          <ac:spMkLst>
            <pc:docMk/>
            <pc:sldMk cId="793849896" sldId="2147374027"/>
            <ac:spMk id="22" creationId="{4C4BEC01-941A-4DFF-AD0C-2B67CB1E794D}"/>
          </ac:spMkLst>
        </pc:spChg>
        <pc:spChg chg="add del mod">
          <ac:chgData name="Richerzhagen, Bjoern (T CED WLN-DE)" userId="1be7a072-4164-461c-b9ed-ae3c5d97c1a8" providerId="ADAL" clId="{A27AFCC7-D8F6-44BC-A001-AAF1884E580A}" dt="2022-03-01T15:54:28.178" v="8093"/>
          <ac:spMkLst>
            <pc:docMk/>
            <pc:sldMk cId="793849896" sldId="2147374027"/>
            <ac:spMk id="27" creationId="{4F57193C-1C08-4CCB-BB81-FC04E3F9B5BC}"/>
          </ac:spMkLst>
        </pc:spChg>
        <pc:spChg chg="add del mod">
          <ac:chgData name="Richerzhagen, Bjoern (T CED WLN-DE)" userId="1be7a072-4164-461c-b9ed-ae3c5d97c1a8" providerId="ADAL" clId="{A27AFCC7-D8F6-44BC-A001-AAF1884E580A}" dt="2022-03-01T15:54:28.178" v="8093"/>
          <ac:spMkLst>
            <pc:docMk/>
            <pc:sldMk cId="793849896" sldId="2147374027"/>
            <ac:spMk id="28" creationId="{99C4F822-9303-4263-BC31-52F8BC6B85C4}"/>
          </ac:spMkLst>
        </pc:spChg>
        <pc:spChg chg="add del mod">
          <ac:chgData name="Richerzhagen, Bjoern (T CED WLN-DE)" userId="1be7a072-4164-461c-b9ed-ae3c5d97c1a8" providerId="ADAL" clId="{A27AFCC7-D8F6-44BC-A001-AAF1884E580A}" dt="2022-03-01T15:54:28.178" v="8093"/>
          <ac:spMkLst>
            <pc:docMk/>
            <pc:sldMk cId="793849896" sldId="2147374027"/>
            <ac:spMk id="29" creationId="{9CFC8195-C1FA-49E2-8A18-5102A67F5EBB}"/>
          </ac:spMkLst>
        </pc:spChg>
        <pc:spChg chg="add del mod">
          <ac:chgData name="Richerzhagen, Bjoern (T CED WLN-DE)" userId="1be7a072-4164-461c-b9ed-ae3c5d97c1a8" providerId="ADAL" clId="{A27AFCC7-D8F6-44BC-A001-AAF1884E580A}" dt="2022-03-01T15:54:28.178" v="8093"/>
          <ac:spMkLst>
            <pc:docMk/>
            <pc:sldMk cId="793849896" sldId="2147374027"/>
            <ac:spMk id="32" creationId="{B3F7DB9C-1DAA-4978-ACB1-5BD3213BFBE9}"/>
          </ac:spMkLst>
        </pc:spChg>
        <pc:spChg chg="add del mod">
          <ac:chgData name="Richerzhagen, Bjoern (T CED WLN-DE)" userId="1be7a072-4164-461c-b9ed-ae3c5d97c1a8" providerId="ADAL" clId="{A27AFCC7-D8F6-44BC-A001-AAF1884E580A}" dt="2022-03-01T15:54:28.178" v="8093"/>
          <ac:spMkLst>
            <pc:docMk/>
            <pc:sldMk cId="793849896" sldId="2147374027"/>
            <ac:spMk id="33" creationId="{DD4C07F8-F7DB-4B3D-8224-B7F63CCA80E0}"/>
          </ac:spMkLst>
        </pc:spChg>
        <pc:spChg chg="add del mod">
          <ac:chgData name="Richerzhagen, Bjoern (T CED WLN-DE)" userId="1be7a072-4164-461c-b9ed-ae3c5d97c1a8" providerId="ADAL" clId="{A27AFCC7-D8F6-44BC-A001-AAF1884E580A}" dt="2022-03-01T15:54:28.178" v="8093"/>
          <ac:spMkLst>
            <pc:docMk/>
            <pc:sldMk cId="793849896" sldId="2147374027"/>
            <ac:spMk id="34" creationId="{58FC869B-750C-4A7C-AEDD-81C66F0123E5}"/>
          </ac:spMkLst>
        </pc:spChg>
        <pc:spChg chg="add del mod">
          <ac:chgData name="Richerzhagen, Bjoern (T CED WLN-DE)" userId="1be7a072-4164-461c-b9ed-ae3c5d97c1a8" providerId="ADAL" clId="{A27AFCC7-D8F6-44BC-A001-AAF1884E580A}" dt="2022-03-01T15:54:28.178" v="8093"/>
          <ac:spMkLst>
            <pc:docMk/>
            <pc:sldMk cId="793849896" sldId="2147374027"/>
            <ac:spMk id="35" creationId="{5021CE3A-D61C-4E50-AB2A-09C5D8F224D0}"/>
          </ac:spMkLst>
        </pc:spChg>
        <pc:spChg chg="add del mod">
          <ac:chgData name="Richerzhagen, Bjoern (T CED WLN-DE)" userId="1be7a072-4164-461c-b9ed-ae3c5d97c1a8" providerId="ADAL" clId="{A27AFCC7-D8F6-44BC-A001-AAF1884E580A}" dt="2022-03-01T15:54:28.178" v="8093"/>
          <ac:spMkLst>
            <pc:docMk/>
            <pc:sldMk cId="793849896" sldId="2147374027"/>
            <ac:spMk id="36" creationId="{5B02DCDE-EE25-44DD-A7E6-F9B6218E4331}"/>
          </ac:spMkLst>
        </pc:spChg>
        <pc:spChg chg="add del mod">
          <ac:chgData name="Richerzhagen, Bjoern (T CED WLN-DE)" userId="1be7a072-4164-461c-b9ed-ae3c5d97c1a8" providerId="ADAL" clId="{A27AFCC7-D8F6-44BC-A001-AAF1884E580A}" dt="2022-03-01T15:54:28.178" v="8093"/>
          <ac:spMkLst>
            <pc:docMk/>
            <pc:sldMk cId="793849896" sldId="2147374027"/>
            <ac:spMk id="38" creationId="{ACCBC93A-2CB9-48F5-873A-5933261D8D3A}"/>
          </ac:spMkLst>
        </pc:spChg>
        <pc:spChg chg="add del mod">
          <ac:chgData name="Richerzhagen, Bjoern (T CED WLN-DE)" userId="1be7a072-4164-461c-b9ed-ae3c5d97c1a8" providerId="ADAL" clId="{A27AFCC7-D8F6-44BC-A001-AAF1884E580A}" dt="2022-03-01T15:54:28.178" v="8093"/>
          <ac:spMkLst>
            <pc:docMk/>
            <pc:sldMk cId="793849896" sldId="2147374027"/>
            <ac:spMk id="40" creationId="{D47FA6B4-D859-475B-BA0B-9870D00A5912}"/>
          </ac:spMkLst>
        </pc:spChg>
        <pc:spChg chg="add del mod">
          <ac:chgData name="Richerzhagen, Bjoern (T CED WLN-DE)" userId="1be7a072-4164-461c-b9ed-ae3c5d97c1a8" providerId="ADAL" clId="{A27AFCC7-D8F6-44BC-A001-AAF1884E580A}" dt="2022-03-01T15:54:28.178" v="8093"/>
          <ac:spMkLst>
            <pc:docMk/>
            <pc:sldMk cId="793849896" sldId="2147374027"/>
            <ac:spMk id="41" creationId="{2F3EC529-88B6-41C6-9E6E-A44DB7C2D61F}"/>
          </ac:spMkLst>
        </pc:spChg>
        <pc:spChg chg="add del mod">
          <ac:chgData name="Richerzhagen, Bjoern (T CED WLN-DE)" userId="1be7a072-4164-461c-b9ed-ae3c5d97c1a8" providerId="ADAL" clId="{A27AFCC7-D8F6-44BC-A001-AAF1884E580A}" dt="2022-03-01T15:54:28.178" v="8093"/>
          <ac:spMkLst>
            <pc:docMk/>
            <pc:sldMk cId="793849896" sldId="2147374027"/>
            <ac:spMk id="47" creationId="{4F6F4397-121D-480B-890D-2A83A801D563}"/>
          </ac:spMkLst>
        </pc:spChg>
        <pc:spChg chg="add del mod">
          <ac:chgData name="Richerzhagen, Bjoern (T CED WLN-DE)" userId="1be7a072-4164-461c-b9ed-ae3c5d97c1a8" providerId="ADAL" clId="{A27AFCC7-D8F6-44BC-A001-AAF1884E580A}" dt="2022-03-01T15:54:28.178" v="8093"/>
          <ac:spMkLst>
            <pc:docMk/>
            <pc:sldMk cId="793849896" sldId="2147374027"/>
            <ac:spMk id="51" creationId="{F97CFE74-0975-4446-82FB-1E4E095D2C04}"/>
          </ac:spMkLst>
        </pc:spChg>
        <pc:spChg chg="add del mod">
          <ac:chgData name="Richerzhagen, Bjoern (T CED WLN-DE)" userId="1be7a072-4164-461c-b9ed-ae3c5d97c1a8" providerId="ADAL" clId="{A27AFCC7-D8F6-44BC-A001-AAF1884E580A}" dt="2022-03-01T15:54:28.178" v="8093"/>
          <ac:spMkLst>
            <pc:docMk/>
            <pc:sldMk cId="793849896" sldId="2147374027"/>
            <ac:spMk id="52" creationId="{1A59B9B0-A19E-409E-96BF-F2C400BA48DB}"/>
          </ac:spMkLst>
        </pc:spChg>
        <pc:spChg chg="add del mod">
          <ac:chgData name="Richerzhagen, Bjoern (T CED WLN-DE)" userId="1be7a072-4164-461c-b9ed-ae3c5d97c1a8" providerId="ADAL" clId="{A27AFCC7-D8F6-44BC-A001-AAF1884E580A}" dt="2022-03-01T15:54:28.178" v="8093"/>
          <ac:spMkLst>
            <pc:docMk/>
            <pc:sldMk cId="793849896" sldId="2147374027"/>
            <ac:spMk id="53" creationId="{1B22C17F-920F-42E3-9340-A032247BD960}"/>
          </ac:spMkLst>
        </pc:spChg>
        <pc:spChg chg="add del mod">
          <ac:chgData name="Richerzhagen, Bjoern (T CED WLN-DE)" userId="1be7a072-4164-461c-b9ed-ae3c5d97c1a8" providerId="ADAL" clId="{A27AFCC7-D8F6-44BC-A001-AAF1884E580A}" dt="2022-03-01T15:54:28.178" v="8093"/>
          <ac:spMkLst>
            <pc:docMk/>
            <pc:sldMk cId="793849896" sldId="2147374027"/>
            <ac:spMk id="54" creationId="{BED060D3-9D52-4E13-957E-7FF7A7199E06}"/>
          </ac:spMkLst>
        </pc:spChg>
        <pc:spChg chg="add del mod">
          <ac:chgData name="Richerzhagen, Bjoern (T CED WLN-DE)" userId="1be7a072-4164-461c-b9ed-ae3c5d97c1a8" providerId="ADAL" clId="{A27AFCC7-D8F6-44BC-A001-AAF1884E580A}" dt="2022-03-01T15:54:28.178" v="8093"/>
          <ac:spMkLst>
            <pc:docMk/>
            <pc:sldMk cId="793849896" sldId="2147374027"/>
            <ac:spMk id="56" creationId="{DD73EF2D-183E-42D6-B3D8-8B5AF1061918}"/>
          </ac:spMkLst>
        </pc:spChg>
        <pc:spChg chg="add del mod">
          <ac:chgData name="Richerzhagen, Bjoern (T CED WLN-DE)" userId="1be7a072-4164-461c-b9ed-ae3c5d97c1a8" providerId="ADAL" clId="{A27AFCC7-D8F6-44BC-A001-AAF1884E580A}" dt="2022-03-01T15:54:28.178" v="8093"/>
          <ac:spMkLst>
            <pc:docMk/>
            <pc:sldMk cId="793849896" sldId="2147374027"/>
            <ac:spMk id="58" creationId="{45AAD18B-D3BB-453C-B621-AF98188783F2}"/>
          </ac:spMkLst>
        </pc:spChg>
        <pc:spChg chg="add del mod">
          <ac:chgData name="Richerzhagen, Bjoern (T CED WLN-DE)" userId="1be7a072-4164-461c-b9ed-ae3c5d97c1a8" providerId="ADAL" clId="{A27AFCC7-D8F6-44BC-A001-AAF1884E580A}" dt="2022-03-01T15:54:28.178" v="8093"/>
          <ac:spMkLst>
            <pc:docMk/>
            <pc:sldMk cId="793849896" sldId="2147374027"/>
            <ac:spMk id="59" creationId="{40F5CE5A-4421-4FF3-8975-C5CBCC9A1048}"/>
          </ac:spMkLst>
        </pc:spChg>
        <pc:spChg chg="add mod">
          <ac:chgData name="Richerzhagen, Bjoern (T CED WLN-DE)" userId="1be7a072-4164-461c-b9ed-ae3c5d97c1a8" providerId="ADAL" clId="{A27AFCC7-D8F6-44BC-A001-AAF1884E580A}" dt="2022-03-01T15:54:46.203" v="8104"/>
          <ac:spMkLst>
            <pc:docMk/>
            <pc:sldMk cId="793849896" sldId="2147374027"/>
            <ac:spMk id="61" creationId="{294A5715-889F-46BF-BF5B-4958604CDDB7}"/>
          </ac:spMkLst>
        </pc:spChg>
        <pc:spChg chg="add mod">
          <ac:chgData name="Richerzhagen, Bjoern (T CED WLN-DE)" userId="1be7a072-4164-461c-b9ed-ae3c5d97c1a8" providerId="ADAL" clId="{A27AFCC7-D8F6-44BC-A001-AAF1884E580A}" dt="2022-03-01T15:56:02.214" v="8117" actId="208"/>
          <ac:spMkLst>
            <pc:docMk/>
            <pc:sldMk cId="793849896" sldId="2147374027"/>
            <ac:spMk id="62" creationId="{EFAB95E5-79D5-4F42-8D5C-126BA477292B}"/>
          </ac:spMkLst>
        </pc:spChg>
        <pc:spChg chg="add mod">
          <ac:chgData name="Richerzhagen, Bjoern (T CED WLN-DE)" userId="1be7a072-4164-461c-b9ed-ae3c5d97c1a8" providerId="ADAL" clId="{A27AFCC7-D8F6-44BC-A001-AAF1884E580A}" dt="2022-03-01T15:56:05.433" v="8118" actId="208"/>
          <ac:spMkLst>
            <pc:docMk/>
            <pc:sldMk cId="793849896" sldId="2147374027"/>
            <ac:spMk id="63" creationId="{22D67E33-BDDD-452A-9E75-067250914822}"/>
          </ac:spMkLst>
        </pc:spChg>
        <pc:spChg chg="add mod">
          <ac:chgData name="Richerzhagen, Bjoern (T CED WLN-DE)" userId="1be7a072-4164-461c-b9ed-ae3c5d97c1a8" providerId="ADAL" clId="{A27AFCC7-D8F6-44BC-A001-AAF1884E580A}" dt="2022-03-01T15:57:32.249" v="8138" actId="20577"/>
          <ac:spMkLst>
            <pc:docMk/>
            <pc:sldMk cId="793849896" sldId="2147374027"/>
            <ac:spMk id="64" creationId="{1056F9F3-B33D-4EDC-BC92-8C7A7AFE8677}"/>
          </ac:spMkLst>
        </pc:spChg>
        <pc:spChg chg="add mod">
          <ac:chgData name="Richerzhagen, Bjoern (T CED WLN-DE)" userId="1be7a072-4164-461c-b9ed-ae3c5d97c1a8" providerId="ADAL" clId="{A27AFCC7-D8F6-44BC-A001-AAF1884E580A}" dt="2022-03-01T15:55:57.421" v="8116" actId="208"/>
          <ac:spMkLst>
            <pc:docMk/>
            <pc:sldMk cId="793849896" sldId="2147374027"/>
            <ac:spMk id="67" creationId="{BDB8492F-5E0E-4BDF-9071-521618E4B0D4}"/>
          </ac:spMkLst>
        </pc:spChg>
        <pc:spChg chg="add mod">
          <ac:chgData name="Richerzhagen, Bjoern (T CED WLN-DE)" userId="1be7a072-4164-461c-b9ed-ae3c5d97c1a8" providerId="ADAL" clId="{A27AFCC7-D8F6-44BC-A001-AAF1884E580A}" dt="2022-03-01T15:54:46.203" v="8104"/>
          <ac:spMkLst>
            <pc:docMk/>
            <pc:sldMk cId="793849896" sldId="2147374027"/>
            <ac:spMk id="68" creationId="{D6A51CEF-F0A4-4025-8DC7-3ECC6FB57FFF}"/>
          </ac:spMkLst>
        </pc:spChg>
        <pc:spChg chg="add mod">
          <ac:chgData name="Richerzhagen, Bjoern (T CED WLN-DE)" userId="1be7a072-4164-461c-b9ed-ae3c5d97c1a8" providerId="ADAL" clId="{A27AFCC7-D8F6-44BC-A001-AAF1884E580A}" dt="2022-03-01T15:54:46.203" v="8104"/>
          <ac:spMkLst>
            <pc:docMk/>
            <pc:sldMk cId="793849896" sldId="2147374027"/>
            <ac:spMk id="70" creationId="{7A4AF148-B9FE-41AE-987E-AD2AD361A0D0}"/>
          </ac:spMkLst>
        </pc:spChg>
        <pc:spChg chg="add mod">
          <ac:chgData name="Richerzhagen, Bjoern (T CED WLN-DE)" userId="1be7a072-4164-461c-b9ed-ae3c5d97c1a8" providerId="ADAL" clId="{A27AFCC7-D8F6-44BC-A001-AAF1884E580A}" dt="2022-03-01T15:57:39.373" v="8142" actId="20577"/>
          <ac:spMkLst>
            <pc:docMk/>
            <pc:sldMk cId="793849896" sldId="2147374027"/>
            <ac:spMk id="73" creationId="{FAB2734C-3989-4DE5-BC40-34B28065F656}"/>
          </ac:spMkLst>
        </pc:spChg>
        <pc:spChg chg="add mod">
          <ac:chgData name="Richerzhagen, Bjoern (T CED WLN-DE)" userId="1be7a072-4164-461c-b9ed-ae3c5d97c1a8" providerId="ADAL" clId="{A27AFCC7-D8F6-44BC-A001-AAF1884E580A}" dt="2022-03-01T15:57:34.603" v="8140" actId="20577"/>
          <ac:spMkLst>
            <pc:docMk/>
            <pc:sldMk cId="793849896" sldId="2147374027"/>
            <ac:spMk id="75" creationId="{A4E20925-A122-4A05-8915-CD374B5EB13E}"/>
          </ac:spMkLst>
        </pc:spChg>
        <pc:spChg chg="add mod">
          <ac:chgData name="Richerzhagen, Bjoern (T CED WLN-DE)" userId="1be7a072-4164-461c-b9ed-ae3c5d97c1a8" providerId="ADAL" clId="{A27AFCC7-D8F6-44BC-A001-AAF1884E580A}" dt="2022-03-01T15:54:46.203" v="8104"/>
          <ac:spMkLst>
            <pc:docMk/>
            <pc:sldMk cId="793849896" sldId="2147374027"/>
            <ac:spMk id="76" creationId="{FB182776-AF5F-4548-A0A9-28AE8C3AC3A7}"/>
          </ac:spMkLst>
        </pc:spChg>
        <pc:spChg chg="add mod">
          <ac:chgData name="Richerzhagen, Bjoern (T CED WLN-DE)" userId="1be7a072-4164-461c-b9ed-ae3c5d97c1a8" providerId="ADAL" clId="{A27AFCC7-D8F6-44BC-A001-AAF1884E580A}" dt="2022-03-01T15:54:46.203" v="8104"/>
          <ac:spMkLst>
            <pc:docMk/>
            <pc:sldMk cId="793849896" sldId="2147374027"/>
            <ac:spMk id="77" creationId="{50FEDF0C-737D-43BC-934D-88F08AF28ED9}"/>
          </ac:spMkLst>
        </pc:spChg>
        <pc:spChg chg="add mod">
          <ac:chgData name="Richerzhagen, Bjoern (T CED WLN-DE)" userId="1be7a072-4164-461c-b9ed-ae3c5d97c1a8" providerId="ADAL" clId="{A27AFCC7-D8F6-44BC-A001-AAF1884E580A}" dt="2022-03-01T15:54:46.203" v="8104"/>
          <ac:spMkLst>
            <pc:docMk/>
            <pc:sldMk cId="793849896" sldId="2147374027"/>
            <ac:spMk id="78" creationId="{8EA5C296-0D21-4794-BAA0-29DAB8125F0D}"/>
          </ac:spMkLst>
        </pc:spChg>
        <pc:spChg chg="add mod">
          <ac:chgData name="Richerzhagen, Bjoern (T CED WLN-DE)" userId="1be7a072-4164-461c-b9ed-ae3c5d97c1a8" providerId="ADAL" clId="{A27AFCC7-D8F6-44BC-A001-AAF1884E580A}" dt="2022-03-01T15:54:46.203" v="8104"/>
          <ac:spMkLst>
            <pc:docMk/>
            <pc:sldMk cId="793849896" sldId="2147374027"/>
            <ac:spMk id="79" creationId="{C9505C3B-49F7-4E0C-8E31-3BBD41022138}"/>
          </ac:spMkLst>
        </pc:spChg>
        <pc:spChg chg="add mod">
          <ac:chgData name="Richerzhagen, Bjoern (T CED WLN-DE)" userId="1be7a072-4164-461c-b9ed-ae3c5d97c1a8" providerId="ADAL" clId="{A27AFCC7-D8F6-44BC-A001-AAF1884E580A}" dt="2022-03-01T15:54:46.203" v="8104"/>
          <ac:spMkLst>
            <pc:docMk/>
            <pc:sldMk cId="793849896" sldId="2147374027"/>
            <ac:spMk id="84" creationId="{7D27DB0B-DD26-465F-A448-A4438F7F854F}"/>
          </ac:spMkLst>
        </pc:spChg>
        <pc:spChg chg="add mod">
          <ac:chgData name="Richerzhagen, Bjoern (T CED WLN-DE)" userId="1be7a072-4164-461c-b9ed-ae3c5d97c1a8" providerId="ADAL" clId="{A27AFCC7-D8F6-44BC-A001-AAF1884E580A}" dt="2022-03-01T15:54:46.203" v="8104"/>
          <ac:spMkLst>
            <pc:docMk/>
            <pc:sldMk cId="793849896" sldId="2147374027"/>
            <ac:spMk id="85" creationId="{8C97EEAB-57ED-4952-9C50-2FDB363A91C5}"/>
          </ac:spMkLst>
        </pc:spChg>
        <pc:spChg chg="add mod">
          <ac:chgData name="Richerzhagen, Bjoern (T CED WLN-DE)" userId="1be7a072-4164-461c-b9ed-ae3c5d97c1a8" providerId="ADAL" clId="{A27AFCC7-D8F6-44BC-A001-AAF1884E580A}" dt="2022-03-01T15:54:46.203" v="8104"/>
          <ac:spMkLst>
            <pc:docMk/>
            <pc:sldMk cId="793849896" sldId="2147374027"/>
            <ac:spMk id="86" creationId="{C185C62D-CF75-4232-AFD5-84C8827A9B4F}"/>
          </ac:spMkLst>
        </pc:spChg>
        <pc:spChg chg="add mod">
          <ac:chgData name="Richerzhagen, Bjoern (T CED WLN-DE)" userId="1be7a072-4164-461c-b9ed-ae3c5d97c1a8" providerId="ADAL" clId="{A27AFCC7-D8F6-44BC-A001-AAF1884E580A}" dt="2022-03-01T15:54:46.203" v="8104"/>
          <ac:spMkLst>
            <pc:docMk/>
            <pc:sldMk cId="793849896" sldId="2147374027"/>
            <ac:spMk id="89" creationId="{3C0EBB97-3438-420B-8A61-6666149860AB}"/>
          </ac:spMkLst>
        </pc:spChg>
        <pc:spChg chg="add mod">
          <ac:chgData name="Richerzhagen, Bjoern (T CED WLN-DE)" userId="1be7a072-4164-461c-b9ed-ae3c5d97c1a8" providerId="ADAL" clId="{A27AFCC7-D8F6-44BC-A001-AAF1884E580A}" dt="2022-03-01T15:54:46.203" v="8104"/>
          <ac:spMkLst>
            <pc:docMk/>
            <pc:sldMk cId="793849896" sldId="2147374027"/>
            <ac:spMk id="90" creationId="{93133520-0497-468E-BD9F-0CBE28C71F3A}"/>
          </ac:spMkLst>
        </pc:spChg>
        <pc:spChg chg="add mod">
          <ac:chgData name="Richerzhagen, Bjoern (T CED WLN-DE)" userId="1be7a072-4164-461c-b9ed-ae3c5d97c1a8" providerId="ADAL" clId="{A27AFCC7-D8F6-44BC-A001-AAF1884E580A}" dt="2022-03-01T15:54:46.203" v="8104"/>
          <ac:spMkLst>
            <pc:docMk/>
            <pc:sldMk cId="793849896" sldId="2147374027"/>
            <ac:spMk id="91" creationId="{0391F4DF-4361-4726-9CA0-77E8647FB05C}"/>
          </ac:spMkLst>
        </pc:spChg>
        <pc:spChg chg="add mod">
          <ac:chgData name="Richerzhagen, Bjoern (T CED WLN-DE)" userId="1be7a072-4164-461c-b9ed-ae3c5d97c1a8" providerId="ADAL" clId="{A27AFCC7-D8F6-44BC-A001-AAF1884E580A}" dt="2022-03-01T15:54:46.203" v="8104"/>
          <ac:spMkLst>
            <pc:docMk/>
            <pc:sldMk cId="793849896" sldId="2147374027"/>
            <ac:spMk id="92" creationId="{0A0674A9-6A65-433D-91BF-A646B4567AE9}"/>
          </ac:spMkLst>
        </pc:spChg>
        <pc:spChg chg="add mod">
          <ac:chgData name="Richerzhagen, Bjoern (T CED WLN-DE)" userId="1be7a072-4164-461c-b9ed-ae3c5d97c1a8" providerId="ADAL" clId="{A27AFCC7-D8F6-44BC-A001-AAF1884E580A}" dt="2022-03-01T15:54:46.203" v="8104"/>
          <ac:spMkLst>
            <pc:docMk/>
            <pc:sldMk cId="793849896" sldId="2147374027"/>
            <ac:spMk id="93" creationId="{05E4A1C3-70EA-4051-ACA2-15451921AC78}"/>
          </ac:spMkLst>
        </pc:spChg>
        <pc:spChg chg="add mod">
          <ac:chgData name="Richerzhagen, Bjoern (T CED WLN-DE)" userId="1be7a072-4164-461c-b9ed-ae3c5d97c1a8" providerId="ADAL" clId="{A27AFCC7-D8F6-44BC-A001-AAF1884E580A}" dt="2022-03-01T15:54:46.203" v="8104"/>
          <ac:spMkLst>
            <pc:docMk/>
            <pc:sldMk cId="793849896" sldId="2147374027"/>
            <ac:spMk id="95" creationId="{11ABB0C0-E615-498D-B1A9-125BF3F4EDAE}"/>
          </ac:spMkLst>
        </pc:spChg>
        <pc:spChg chg="add mod">
          <ac:chgData name="Richerzhagen, Bjoern (T CED WLN-DE)" userId="1be7a072-4164-461c-b9ed-ae3c5d97c1a8" providerId="ADAL" clId="{A27AFCC7-D8F6-44BC-A001-AAF1884E580A}" dt="2022-03-01T15:54:46.203" v="8104"/>
          <ac:spMkLst>
            <pc:docMk/>
            <pc:sldMk cId="793849896" sldId="2147374027"/>
            <ac:spMk id="97" creationId="{F9287457-1943-4147-866B-0014A9FF0967}"/>
          </ac:spMkLst>
        </pc:spChg>
        <pc:spChg chg="add mod">
          <ac:chgData name="Richerzhagen, Bjoern (T CED WLN-DE)" userId="1be7a072-4164-461c-b9ed-ae3c5d97c1a8" providerId="ADAL" clId="{A27AFCC7-D8F6-44BC-A001-AAF1884E580A}" dt="2022-03-01T15:56:55.853" v="8130" actId="120"/>
          <ac:spMkLst>
            <pc:docMk/>
            <pc:sldMk cId="793849896" sldId="2147374027"/>
            <ac:spMk id="98" creationId="{5940B75E-1A58-448C-8F1D-D7CCF3BBABC8}"/>
          </ac:spMkLst>
        </pc:spChg>
        <pc:spChg chg="add mod">
          <ac:chgData name="Richerzhagen, Bjoern (T CED WLN-DE)" userId="1be7a072-4164-461c-b9ed-ae3c5d97c1a8" providerId="ADAL" clId="{A27AFCC7-D8F6-44BC-A001-AAF1884E580A}" dt="2022-03-01T15:56:33.221" v="8125" actId="1076"/>
          <ac:spMkLst>
            <pc:docMk/>
            <pc:sldMk cId="793849896" sldId="2147374027"/>
            <ac:spMk id="104" creationId="{9968B292-E19C-4A2E-B255-CED8DF812565}"/>
          </ac:spMkLst>
        </pc:spChg>
        <pc:spChg chg="add mod">
          <ac:chgData name="Richerzhagen, Bjoern (T CED WLN-DE)" userId="1be7a072-4164-461c-b9ed-ae3c5d97c1a8" providerId="ADAL" clId="{A27AFCC7-D8F6-44BC-A001-AAF1884E580A}" dt="2022-03-01T15:57:05.665" v="8133" actId="14100"/>
          <ac:spMkLst>
            <pc:docMk/>
            <pc:sldMk cId="793849896" sldId="2147374027"/>
            <ac:spMk id="108" creationId="{8998FEEB-B419-4BA1-AF14-A6D4C1CEF535}"/>
          </ac:spMkLst>
        </pc:spChg>
        <pc:spChg chg="add mod">
          <ac:chgData name="Richerzhagen, Bjoern (T CED WLN-DE)" userId="1be7a072-4164-461c-b9ed-ae3c5d97c1a8" providerId="ADAL" clId="{A27AFCC7-D8F6-44BC-A001-AAF1884E580A}" dt="2022-03-01T15:54:46.203" v="8104"/>
          <ac:spMkLst>
            <pc:docMk/>
            <pc:sldMk cId="793849896" sldId="2147374027"/>
            <ac:spMk id="109" creationId="{3F87F7E1-A129-4199-B5AD-45687C041B99}"/>
          </ac:spMkLst>
        </pc:spChg>
        <pc:spChg chg="add mod">
          <ac:chgData name="Richerzhagen, Bjoern (T CED WLN-DE)" userId="1be7a072-4164-461c-b9ed-ae3c5d97c1a8" providerId="ADAL" clId="{A27AFCC7-D8F6-44BC-A001-AAF1884E580A}" dt="2022-03-01T15:54:46.203" v="8104"/>
          <ac:spMkLst>
            <pc:docMk/>
            <pc:sldMk cId="793849896" sldId="2147374027"/>
            <ac:spMk id="110" creationId="{46D42E79-D603-418B-9AB2-68FCA58ADFC2}"/>
          </ac:spMkLst>
        </pc:spChg>
        <pc:spChg chg="add mod">
          <ac:chgData name="Richerzhagen, Bjoern (T CED WLN-DE)" userId="1be7a072-4164-461c-b9ed-ae3c5d97c1a8" providerId="ADAL" clId="{A27AFCC7-D8F6-44BC-A001-AAF1884E580A}" dt="2022-03-01T15:54:46.203" v="8104"/>
          <ac:spMkLst>
            <pc:docMk/>
            <pc:sldMk cId="793849896" sldId="2147374027"/>
            <ac:spMk id="111" creationId="{8CD9A9E1-9E0B-43ED-8A1D-78B6083DC4BA}"/>
          </ac:spMkLst>
        </pc:spChg>
        <pc:spChg chg="add mod">
          <ac:chgData name="Richerzhagen, Bjoern (T CED WLN-DE)" userId="1be7a072-4164-461c-b9ed-ae3c5d97c1a8" providerId="ADAL" clId="{A27AFCC7-D8F6-44BC-A001-AAF1884E580A}" dt="2022-03-01T15:54:46.203" v="8104"/>
          <ac:spMkLst>
            <pc:docMk/>
            <pc:sldMk cId="793849896" sldId="2147374027"/>
            <ac:spMk id="113" creationId="{F689378A-600D-44AD-984F-B72D7E0BDD6D}"/>
          </ac:spMkLst>
        </pc:spChg>
        <pc:spChg chg="add del mod">
          <ac:chgData name="Richerzhagen, Bjoern (T CED WLN-DE)" userId="1be7a072-4164-461c-b9ed-ae3c5d97c1a8" providerId="ADAL" clId="{A27AFCC7-D8F6-44BC-A001-AAF1884E580A}" dt="2022-03-01T15:57:27.146" v="8134" actId="478"/>
          <ac:spMkLst>
            <pc:docMk/>
            <pc:sldMk cId="793849896" sldId="2147374027"/>
            <ac:spMk id="115" creationId="{1995A7DB-0490-4A52-806E-9BBC8D615A91}"/>
          </ac:spMkLst>
        </pc:spChg>
        <pc:spChg chg="add del mod">
          <ac:chgData name="Richerzhagen, Bjoern (T CED WLN-DE)" userId="1be7a072-4164-461c-b9ed-ae3c5d97c1a8" providerId="ADAL" clId="{A27AFCC7-D8F6-44BC-A001-AAF1884E580A}" dt="2022-03-01T15:57:29.410" v="8136" actId="478"/>
          <ac:spMkLst>
            <pc:docMk/>
            <pc:sldMk cId="793849896" sldId="2147374027"/>
            <ac:spMk id="116" creationId="{23029943-D89E-4F44-949E-3C9CA81F50BF}"/>
          </ac:spMkLst>
        </pc:spChg>
        <pc:picChg chg="add del mod">
          <ac:chgData name="Richerzhagen, Bjoern (T CED WLN-DE)" userId="1be7a072-4164-461c-b9ed-ae3c5d97c1a8" providerId="ADAL" clId="{A27AFCC7-D8F6-44BC-A001-AAF1884E580A}" dt="2022-03-01T15:54:28.178" v="8093"/>
          <ac:picMkLst>
            <pc:docMk/>
            <pc:sldMk cId="793849896" sldId="2147374027"/>
            <ac:picMk id="48" creationId="{96A94F8B-28A3-4C2C-A57A-C6EA80D919F2}"/>
          </ac:picMkLst>
        </pc:picChg>
        <pc:picChg chg="add del mod">
          <ac:chgData name="Richerzhagen, Bjoern (T CED WLN-DE)" userId="1be7a072-4164-461c-b9ed-ae3c5d97c1a8" providerId="ADAL" clId="{A27AFCC7-D8F6-44BC-A001-AAF1884E580A}" dt="2022-03-01T15:54:28.178" v="8093"/>
          <ac:picMkLst>
            <pc:docMk/>
            <pc:sldMk cId="793849896" sldId="2147374027"/>
            <ac:picMk id="49" creationId="{0FD32EC2-CA0C-4CB9-A3B2-51D2B6A03D30}"/>
          </ac:picMkLst>
        </pc:picChg>
        <pc:picChg chg="add del mod">
          <ac:chgData name="Richerzhagen, Bjoern (T CED WLN-DE)" userId="1be7a072-4164-461c-b9ed-ae3c5d97c1a8" providerId="ADAL" clId="{A27AFCC7-D8F6-44BC-A001-AAF1884E580A}" dt="2022-03-01T15:54:28.178" v="8093"/>
          <ac:picMkLst>
            <pc:docMk/>
            <pc:sldMk cId="793849896" sldId="2147374027"/>
            <ac:picMk id="50" creationId="{6F32AF6A-35C3-48DA-9C10-EC989D050707}"/>
          </ac:picMkLst>
        </pc:picChg>
        <pc:picChg chg="add del mod">
          <ac:chgData name="Richerzhagen, Bjoern (T CED WLN-DE)" userId="1be7a072-4164-461c-b9ed-ae3c5d97c1a8" providerId="ADAL" clId="{A27AFCC7-D8F6-44BC-A001-AAF1884E580A}" dt="2022-03-01T15:54:28.178" v="8093"/>
          <ac:picMkLst>
            <pc:docMk/>
            <pc:sldMk cId="793849896" sldId="2147374027"/>
            <ac:picMk id="55" creationId="{48BF3226-B3CD-4E83-ABC4-7C3658A032FC}"/>
          </ac:picMkLst>
        </pc:picChg>
        <pc:picChg chg="add del mod">
          <ac:chgData name="Richerzhagen, Bjoern (T CED WLN-DE)" userId="1be7a072-4164-461c-b9ed-ae3c5d97c1a8" providerId="ADAL" clId="{A27AFCC7-D8F6-44BC-A001-AAF1884E580A}" dt="2022-03-01T15:54:28.178" v="8093"/>
          <ac:picMkLst>
            <pc:docMk/>
            <pc:sldMk cId="793849896" sldId="2147374027"/>
            <ac:picMk id="57" creationId="{7532D3BC-501C-493F-AA95-D0F1DF323E87}"/>
          </ac:picMkLst>
        </pc:picChg>
        <pc:picChg chg="add del mod">
          <ac:chgData name="Richerzhagen, Bjoern (T CED WLN-DE)" userId="1be7a072-4164-461c-b9ed-ae3c5d97c1a8" providerId="ADAL" clId="{A27AFCC7-D8F6-44BC-A001-AAF1884E580A}" dt="2022-03-01T15:54:39.042" v="8103" actId="478"/>
          <ac:picMkLst>
            <pc:docMk/>
            <pc:sldMk cId="793849896" sldId="2147374027"/>
            <ac:picMk id="60" creationId="{0BD6E81E-B13D-44BB-AE0F-05F382A242C0}"/>
          </ac:picMkLst>
        </pc:picChg>
        <pc:picChg chg="add mod">
          <ac:chgData name="Richerzhagen, Bjoern (T CED WLN-DE)" userId="1be7a072-4164-461c-b9ed-ae3c5d97c1a8" providerId="ADAL" clId="{A27AFCC7-D8F6-44BC-A001-AAF1884E580A}" dt="2022-03-01T15:54:46.203" v="8104"/>
          <ac:picMkLst>
            <pc:docMk/>
            <pc:sldMk cId="793849896" sldId="2147374027"/>
            <ac:picMk id="105" creationId="{1CE1869D-4AEA-42D3-A9D4-6866C24A52A9}"/>
          </ac:picMkLst>
        </pc:picChg>
        <pc:picChg chg="add mod">
          <ac:chgData name="Richerzhagen, Bjoern (T CED WLN-DE)" userId="1be7a072-4164-461c-b9ed-ae3c5d97c1a8" providerId="ADAL" clId="{A27AFCC7-D8F6-44BC-A001-AAF1884E580A}" dt="2022-03-01T15:54:46.203" v="8104"/>
          <ac:picMkLst>
            <pc:docMk/>
            <pc:sldMk cId="793849896" sldId="2147374027"/>
            <ac:picMk id="106" creationId="{8BD6ACD9-28F4-46D0-8BD8-05741C84538E}"/>
          </ac:picMkLst>
        </pc:picChg>
        <pc:picChg chg="add mod">
          <ac:chgData name="Richerzhagen, Bjoern (T CED WLN-DE)" userId="1be7a072-4164-461c-b9ed-ae3c5d97c1a8" providerId="ADAL" clId="{A27AFCC7-D8F6-44BC-A001-AAF1884E580A}" dt="2022-03-01T15:56:58.666" v="8131" actId="1076"/>
          <ac:picMkLst>
            <pc:docMk/>
            <pc:sldMk cId="793849896" sldId="2147374027"/>
            <ac:picMk id="107" creationId="{0E575DDB-0697-4400-AA8A-EB04A3FBAF49}"/>
          </ac:picMkLst>
        </pc:picChg>
        <pc:picChg chg="add mod">
          <ac:chgData name="Richerzhagen, Bjoern (T CED WLN-DE)" userId="1be7a072-4164-461c-b9ed-ae3c5d97c1a8" providerId="ADAL" clId="{A27AFCC7-D8F6-44BC-A001-AAF1884E580A}" dt="2022-03-01T15:54:46.203" v="8104"/>
          <ac:picMkLst>
            <pc:docMk/>
            <pc:sldMk cId="793849896" sldId="2147374027"/>
            <ac:picMk id="112" creationId="{B70409C0-A9AD-4C27-8AB4-78965F35686E}"/>
          </ac:picMkLst>
        </pc:picChg>
        <pc:picChg chg="add mod">
          <ac:chgData name="Richerzhagen, Bjoern (T CED WLN-DE)" userId="1be7a072-4164-461c-b9ed-ae3c5d97c1a8" providerId="ADAL" clId="{A27AFCC7-D8F6-44BC-A001-AAF1884E580A}" dt="2022-03-01T15:54:46.203" v="8104"/>
          <ac:picMkLst>
            <pc:docMk/>
            <pc:sldMk cId="793849896" sldId="2147374027"/>
            <ac:picMk id="114" creationId="{B6CBA1B5-FF19-4C09-A043-A41A54470DE9}"/>
          </ac:picMkLst>
        </pc:picChg>
        <pc:cxnChg chg="add del mod">
          <ac:chgData name="Richerzhagen, Bjoern (T CED WLN-DE)" userId="1be7a072-4164-461c-b9ed-ae3c5d97c1a8" providerId="ADAL" clId="{A27AFCC7-D8F6-44BC-A001-AAF1884E580A}" dt="2022-03-01T15:54:28.178" v="8093"/>
          <ac:cxnSpMkLst>
            <pc:docMk/>
            <pc:sldMk cId="793849896" sldId="2147374027"/>
            <ac:cxnSpMk id="8" creationId="{78B7E4FA-9636-4D5A-BD46-BE42ACC6198C}"/>
          </ac:cxnSpMkLst>
        </pc:cxnChg>
        <pc:cxnChg chg="add del mod">
          <ac:chgData name="Richerzhagen, Bjoern (T CED WLN-DE)" userId="1be7a072-4164-461c-b9ed-ae3c5d97c1a8" providerId="ADAL" clId="{A27AFCC7-D8F6-44BC-A001-AAF1884E580A}" dt="2022-03-01T15:54:28.178" v="8093"/>
          <ac:cxnSpMkLst>
            <pc:docMk/>
            <pc:sldMk cId="793849896" sldId="2147374027"/>
            <ac:cxnSpMk id="9" creationId="{054D886C-C448-468D-AFE6-24B9F2922DE2}"/>
          </ac:cxnSpMkLst>
        </pc:cxnChg>
        <pc:cxnChg chg="add del mod">
          <ac:chgData name="Richerzhagen, Bjoern (T CED WLN-DE)" userId="1be7a072-4164-461c-b9ed-ae3c5d97c1a8" providerId="ADAL" clId="{A27AFCC7-D8F6-44BC-A001-AAF1884E580A}" dt="2022-03-01T15:54:28.178" v="8093"/>
          <ac:cxnSpMkLst>
            <pc:docMk/>
            <pc:sldMk cId="793849896" sldId="2147374027"/>
            <ac:cxnSpMk id="12" creationId="{8DB8DF0A-56D8-46A9-A743-79A7F22683C6}"/>
          </ac:cxnSpMkLst>
        </pc:cxnChg>
        <pc:cxnChg chg="add del mod">
          <ac:chgData name="Richerzhagen, Bjoern (T CED WLN-DE)" userId="1be7a072-4164-461c-b9ed-ae3c5d97c1a8" providerId="ADAL" clId="{A27AFCC7-D8F6-44BC-A001-AAF1884E580A}" dt="2022-03-01T15:54:28.178" v="8093"/>
          <ac:cxnSpMkLst>
            <pc:docMk/>
            <pc:sldMk cId="793849896" sldId="2147374027"/>
            <ac:cxnSpMk id="14" creationId="{B49266A1-A9A3-4EB5-9E11-8FC9F6E5576C}"/>
          </ac:cxnSpMkLst>
        </pc:cxnChg>
        <pc:cxnChg chg="add del mod">
          <ac:chgData name="Richerzhagen, Bjoern (T CED WLN-DE)" userId="1be7a072-4164-461c-b9ed-ae3c5d97c1a8" providerId="ADAL" clId="{A27AFCC7-D8F6-44BC-A001-AAF1884E580A}" dt="2022-03-01T15:54:28.178" v="8093"/>
          <ac:cxnSpMkLst>
            <pc:docMk/>
            <pc:sldMk cId="793849896" sldId="2147374027"/>
            <ac:cxnSpMk id="15" creationId="{AFC32A3B-9D67-47C7-87AD-E43F5E833096}"/>
          </ac:cxnSpMkLst>
        </pc:cxnChg>
        <pc:cxnChg chg="add del mod">
          <ac:chgData name="Richerzhagen, Bjoern (T CED WLN-DE)" userId="1be7a072-4164-461c-b9ed-ae3c5d97c1a8" providerId="ADAL" clId="{A27AFCC7-D8F6-44BC-A001-AAF1884E580A}" dt="2022-03-01T15:54:28.178" v="8093"/>
          <ac:cxnSpMkLst>
            <pc:docMk/>
            <pc:sldMk cId="793849896" sldId="2147374027"/>
            <ac:cxnSpMk id="17" creationId="{35654063-239F-4BC1-A424-EAC8A3FB13A7}"/>
          </ac:cxnSpMkLst>
        </pc:cxnChg>
        <pc:cxnChg chg="add del mod">
          <ac:chgData name="Richerzhagen, Bjoern (T CED WLN-DE)" userId="1be7a072-4164-461c-b9ed-ae3c5d97c1a8" providerId="ADAL" clId="{A27AFCC7-D8F6-44BC-A001-AAF1884E580A}" dt="2022-03-01T15:54:28.178" v="8093"/>
          <ac:cxnSpMkLst>
            <pc:docMk/>
            <pc:sldMk cId="793849896" sldId="2147374027"/>
            <ac:cxnSpMk id="23" creationId="{DE6ABD70-6BB4-4394-9352-29FEC2B8F126}"/>
          </ac:cxnSpMkLst>
        </pc:cxnChg>
        <pc:cxnChg chg="add del mod">
          <ac:chgData name="Richerzhagen, Bjoern (T CED WLN-DE)" userId="1be7a072-4164-461c-b9ed-ae3c5d97c1a8" providerId="ADAL" clId="{A27AFCC7-D8F6-44BC-A001-AAF1884E580A}" dt="2022-03-01T15:54:28.178" v="8093"/>
          <ac:cxnSpMkLst>
            <pc:docMk/>
            <pc:sldMk cId="793849896" sldId="2147374027"/>
            <ac:cxnSpMk id="24" creationId="{EC76B23B-BA5C-45F5-9BEB-D8B14771173D}"/>
          </ac:cxnSpMkLst>
        </pc:cxnChg>
        <pc:cxnChg chg="add del mod">
          <ac:chgData name="Richerzhagen, Bjoern (T CED WLN-DE)" userId="1be7a072-4164-461c-b9ed-ae3c5d97c1a8" providerId="ADAL" clId="{A27AFCC7-D8F6-44BC-A001-AAF1884E580A}" dt="2022-03-01T15:54:28.178" v="8093"/>
          <ac:cxnSpMkLst>
            <pc:docMk/>
            <pc:sldMk cId="793849896" sldId="2147374027"/>
            <ac:cxnSpMk id="25" creationId="{BD05BBB3-86CC-4069-9FA7-45EEB5E8A093}"/>
          </ac:cxnSpMkLst>
        </pc:cxnChg>
        <pc:cxnChg chg="add del mod">
          <ac:chgData name="Richerzhagen, Bjoern (T CED WLN-DE)" userId="1be7a072-4164-461c-b9ed-ae3c5d97c1a8" providerId="ADAL" clId="{A27AFCC7-D8F6-44BC-A001-AAF1884E580A}" dt="2022-03-01T15:54:28.178" v="8093"/>
          <ac:cxnSpMkLst>
            <pc:docMk/>
            <pc:sldMk cId="793849896" sldId="2147374027"/>
            <ac:cxnSpMk id="26" creationId="{6E379C12-5630-48E8-9BA2-EDD12C2A6FAF}"/>
          </ac:cxnSpMkLst>
        </pc:cxnChg>
        <pc:cxnChg chg="add del mod">
          <ac:chgData name="Richerzhagen, Bjoern (T CED WLN-DE)" userId="1be7a072-4164-461c-b9ed-ae3c5d97c1a8" providerId="ADAL" clId="{A27AFCC7-D8F6-44BC-A001-AAF1884E580A}" dt="2022-03-01T15:54:28.178" v="8093"/>
          <ac:cxnSpMkLst>
            <pc:docMk/>
            <pc:sldMk cId="793849896" sldId="2147374027"/>
            <ac:cxnSpMk id="30" creationId="{014351C1-5EB2-404F-88C9-132842B3335C}"/>
          </ac:cxnSpMkLst>
        </pc:cxnChg>
        <pc:cxnChg chg="add del mod">
          <ac:chgData name="Richerzhagen, Bjoern (T CED WLN-DE)" userId="1be7a072-4164-461c-b9ed-ae3c5d97c1a8" providerId="ADAL" clId="{A27AFCC7-D8F6-44BC-A001-AAF1884E580A}" dt="2022-03-01T15:54:28.178" v="8093"/>
          <ac:cxnSpMkLst>
            <pc:docMk/>
            <pc:sldMk cId="793849896" sldId="2147374027"/>
            <ac:cxnSpMk id="31" creationId="{F762D83B-38C5-4896-AEFE-5A50E6C15543}"/>
          </ac:cxnSpMkLst>
        </pc:cxnChg>
        <pc:cxnChg chg="add del mod">
          <ac:chgData name="Richerzhagen, Bjoern (T CED WLN-DE)" userId="1be7a072-4164-461c-b9ed-ae3c5d97c1a8" providerId="ADAL" clId="{A27AFCC7-D8F6-44BC-A001-AAF1884E580A}" dt="2022-03-01T15:54:28.178" v="8093"/>
          <ac:cxnSpMkLst>
            <pc:docMk/>
            <pc:sldMk cId="793849896" sldId="2147374027"/>
            <ac:cxnSpMk id="37" creationId="{F1509469-FA8F-4FE2-9D4C-5F12EAFC8CE6}"/>
          </ac:cxnSpMkLst>
        </pc:cxnChg>
        <pc:cxnChg chg="add del mod">
          <ac:chgData name="Richerzhagen, Bjoern (T CED WLN-DE)" userId="1be7a072-4164-461c-b9ed-ae3c5d97c1a8" providerId="ADAL" clId="{A27AFCC7-D8F6-44BC-A001-AAF1884E580A}" dt="2022-03-01T15:54:28.178" v="8093"/>
          <ac:cxnSpMkLst>
            <pc:docMk/>
            <pc:sldMk cId="793849896" sldId="2147374027"/>
            <ac:cxnSpMk id="39" creationId="{4064B8B9-BC7C-4BA9-A167-5FF1253F67DA}"/>
          </ac:cxnSpMkLst>
        </pc:cxnChg>
        <pc:cxnChg chg="add del mod">
          <ac:chgData name="Richerzhagen, Bjoern (T CED WLN-DE)" userId="1be7a072-4164-461c-b9ed-ae3c5d97c1a8" providerId="ADAL" clId="{A27AFCC7-D8F6-44BC-A001-AAF1884E580A}" dt="2022-03-01T15:54:28.178" v="8093"/>
          <ac:cxnSpMkLst>
            <pc:docMk/>
            <pc:sldMk cId="793849896" sldId="2147374027"/>
            <ac:cxnSpMk id="42" creationId="{805F0542-C567-4F30-BB72-5E3C52EC1BB8}"/>
          </ac:cxnSpMkLst>
        </pc:cxnChg>
        <pc:cxnChg chg="add del mod">
          <ac:chgData name="Richerzhagen, Bjoern (T CED WLN-DE)" userId="1be7a072-4164-461c-b9ed-ae3c5d97c1a8" providerId="ADAL" clId="{A27AFCC7-D8F6-44BC-A001-AAF1884E580A}" dt="2022-03-01T15:54:28.178" v="8093"/>
          <ac:cxnSpMkLst>
            <pc:docMk/>
            <pc:sldMk cId="793849896" sldId="2147374027"/>
            <ac:cxnSpMk id="43" creationId="{A866B00C-A114-4656-8B3F-7039C63084B9}"/>
          </ac:cxnSpMkLst>
        </pc:cxnChg>
        <pc:cxnChg chg="add del mod">
          <ac:chgData name="Richerzhagen, Bjoern (T CED WLN-DE)" userId="1be7a072-4164-461c-b9ed-ae3c5d97c1a8" providerId="ADAL" clId="{A27AFCC7-D8F6-44BC-A001-AAF1884E580A}" dt="2022-03-01T15:54:28.178" v="8093"/>
          <ac:cxnSpMkLst>
            <pc:docMk/>
            <pc:sldMk cId="793849896" sldId="2147374027"/>
            <ac:cxnSpMk id="44" creationId="{B2AAF33D-B25D-41DB-9639-8BDD3B98EEAD}"/>
          </ac:cxnSpMkLst>
        </pc:cxnChg>
        <pc:cxnChg chg="add del mod">
          <ac:chgData name="Richerzhagen, Bjoern (T CED WLN-DE)" userId="1be7a072-4164-461c-b9ed-ae3c5d97c1a8" providerId="ADAL" clId="{A27AFCC7-D8F6-44BC-A001-AAF1884E580A}" dt="2022-03-01T15:54:28.178" v="8093"/>
          <ac:cxnSpMkLst>
            <pc:docMk/>
            <pc:sldMk cId="793849896" sldId="2147374027"/>
            <ac:cxnSpMk id="45" creationId="{0D52903B-2062-40D7-8969-A429A80EB5DA}"/>
          </ac:cxnSpMkLst>
        </pc:cxnChg>
        <pc:cxnChg chg="add del mod">
          <ac:chgData name="Richerzhagen, Bjoern (T CED WLN-DE)" userId="1be7a072-4164-461c-b9ed-ae3c5d97c1a8" providerId="ADAL" clId="{A27AFCC7-D8F6-44BC-A001-AAF1884E580A}" dt="2022-03-01T15:54:28.178" v="8093"/>
          <ac:cxnSpMkLst>
            <pc:docMk/>
            <pc:sldMk cId="793849896" sldId="2147374027"/>
            <ac:cxnSpMk id="46" creationId="{1258F203-8D6A-4281-B4BC-31BC9E180493}"/>
          </ac:cxnSpMkLst>
        </pc:cxnChg>
        <pc:cxnChg chg="add mod">
          <ac:chgData name="Richerzhagen, Bjoern (T CED WLN-DE)" userId="1be7a072-4164-461c-b9ed-ae3c5d97c1a8" providerId="ADAL" clId="{A27AFCC7-D8F6-44BC-A001-AAF1884E580A}" dt="2022-03-01T15:54:46.203" v="8104"/>
          <ac:cxnSpMkLst>
            <pc:docMk/>
            <pc:sldMk cId="793849896" sldId="2147374027"/>
            <ac:cxnSpMk id="65" creationId="{C1843A78-BA09-444D-9036-AFE4B8C48B3C}"/>
          </ac:cxnSpMkLst>
        </pc:cxnChg>
        <pc:cxnChg chg="add mod">
          <ac:chgData name="Richerzhagen, Bjoern (T CED WLN-DE)" userId="1be7a072-4164-461c-b9ed-ae3c5d97c1a8" providerId="ADAL" clId="{A27AFCC7-D8F6-44BC-A001-AAF1884E580A}" dt="2022-03-01T15:54:46.203" v="8104"/>
          <ac:cxnSpMkLst>
            <pc:docMk/>
            <pc:sldMk cId="793849896" sldId="2147374027"/>
            <ac:cxnSpMk id="66" creationId="{4F4A1B75-5CE9-4592-BDFD-70215657E901}"/>
          </ac:cxnSpMkLst>
        </pc:cxnChg>
        <pc:cxnChg chg="add mod">
          <ac:chgData name="Richerzhagen, Bjoern (T CED WLN-DE)" userId="1be7a072-4164-461c-b9ed-ae3c5d97c1a8" providerId="ADAL" clId="{A27AFCC7-D8F6-44BC-A001-AAF1884E580A}" dt="2022-03-01T15:54:46.203" v="8104"/>
          <ac:cxnSpMkLst>
            <pc:docMk/>
            <pc:sldMk cId="793849896" sldId="2147374027"/>
            <ac:cxnSpMk id="69" creationId="{5C5CCA0D-7B19-4D22-BBCB-D91A29399A37}"/>
          </ac:cxnSpMkLst>
        </pc:cxnChg>
        <pc:cxnChg chg="add mod">
          <ac:chgData name="Richerzhagen, Bjoern (T CED WLN-DE)" userId="1be7a072-4164-461c-b9ed-ae3c5d97c1a8" providerId="ADAL" clId="{A27AFCC7-D8F6-44BC-A001-AAF1884E580A}" dt="2022-03-01T15:54:46.203" v="8104"/>
          <ac:cxnSpMkLst>
            <pc:docMk/>
            <pc:sldMk cId="793849896" sldId="2147374027"/>
            <ac:cxnSpMk id="71" creationId="{57D9556B-653D-430F-A101-FC947688C45C}"/>
          </ac:cxnSpMkLst>
        </pc:cxnChg>
        <pc:cxnChg chg="add mod">
          <ac:chgData name="Richerzhagen, Bjoern (T CED WLN-DE)" userId="1be7a072-4164-461c-b9ed-ae3c5d97c1a8" providerId="ADAL" clId="{A27AFCC7-D8F6-44BC-A001-AAF1884E580A}" dt="2022-03-01T15:54:46.203" v="8104"/>
          <ac:cxnSpMkLst>
            <pc:docMk/>
            <pc:sldMk cId="793849896" sldId="2147374027"/>
            <ac:cxnSpMk id="72" creationId="{13FC962A-679A-4173-B994-6FB74D14E470}"/>
          </ac:cxnSpMkLst>
        </pc:cxnChg>
        <pc:cxnChg chg="add mod">
          <ac:chgData name="Richerzhagen, Bjoern (T CED WLN-DE)" userId="1be7a072-4164-461c-b9ed-ae3c5d97c1a8" providerId="ADAL" clId="{A27AFCC7-D8F6-44BC-A001-AAF1884E580A}" dt="2022-03-01T15:54:46.203" v="8104"/>
          <ac:cxnSpMkLst>
            <pc:docMk/>
            <pc:sldMk cId="793849896" sldId="2147374027"/>
            <ac:cxnSpMk id="74" creationId="{E55D1860-C04B-4957-9271-099F54C45291}"/>
          </ac:cxnSpMkLst>
        </pc:cxnChg>
        <pc:cxnChg chg="add mod">
          <ac:chgData name="Richerzhagen, Bjoern (T CED WLN-DE)" userId="1be7a072-4164-461c-b9ed-ae3c5d97c1a8" providerId="ADAL" clId="{A27AFCC7-D8F6-44BC-A001-AAF1884E580A}" dt="2022-03-01T15:54:46.203" v="8104"/>
          <ac:cxnSpMkLst>
            <pc:docMk/>
            <pc:sldMk cId="793849896" sldId="2147374027"/>
            <ac:cxnSpMk id="80" creationId="{7C391DB6-8A6E-47DB-A981-33D5B10FE0EC}"/>
          </ac:cxnSpMkLst>
        </pc:cxnChg>
        <pc:cxnChg chg="add mod">
          <ac:chgData name="Richerzhagen, Bjoern (T CED WLN-DE)" userId="1be7a072-4164-461c-b9ed-ae3c5d97c1a8" providerId="ADAL" clId="{A27AFCC7-D8F6-44BC-A001-AAF1884E580A}" dt="2022-03-01T15:54:46.203" v="8104"/>
          <ac:cxnSpMkLst>
            <pc:docMk/>
            <pc:sldMk cId="793849896" sldId="2147374027"/>
            <ac:cxnSpMk id="81" creationId="{D0501A4C-D239-49B7-B7A8-F67C17C10619}"/>
          </ac:cxnSpMkLst>
        </pc:cxnChg>
        <pc:cxnChg chg="add mod">
          <ac:chgData name="Richerzhagen, Bjoern (T CED WLN-DE)" userId="1be7a072-4164-461c-b9ed-ae3c5d97c1a8" providerId="ADAL" clId="{A27AFCC7-D8F6-44BC-A001-AAF1884E580A}" dt="2022-03-01T15:56:36.219" v="8126" actId="1076"/>
          <ac:cxnSpMkLst>
            <pc:docMk/>
            <pc:sldMk cId="793849896" sldId="2147374027"/>
            <ac:cxnSpMk id="82" creationId="{AC848641-72D4-454B-BFD0-6712149F5FF6}"/>
          </ac:cxnSpMkLst>
        </pc:cxnChg>
        <pc:cxnChg chg="add mod">
          <ac:chgData name="Richerzhagen, Bjoern (T CED WLN-DE)" userId="1be7a072-4164-461c-b9ed-ae3c5d97c1a8" providerId="ADAL" clId="{A27AFCC7-D8F6-44BC-A001-AAF1884E580A}" dt="2022-03-01T15:56:42.123" v="8128" actId="14100"/>
          <ac:cxnSpMkLst>
            <pc:docMk/>
            <pc:sldMk cId="793849896" sldId="2147374027"/>
            <ac:cxnSpMk id="83" creationId="{60F055D2-26CF-4FA6-8D37-915795A015C6}"/>
          </ac:cxnSpMkLst>
        </pc:cxnChg>
        <pc:cxnChg chg="add mod">
          <ac:chgData name="Richerzhagen, Bjoern (T CED WLN-DE)" userId="1be7a072-4164-461c-b9ed-ae3c5d97c1a8" providerId="ADAL" clId="{A27AFCC7-D8F6-44BC-A001-AAF1884E580A}" dt="2022-03-01T15:54:46.203" v="8104"/>
          <ac:cxnSpMkLst>
            <pc:docMk/>
            <pc:sldMk cId="793849896" sldId="2147374027"/>
            <ac:cxnSpMk id="87" creationId="{D3B8EB5E-81DB-4BD7-A365-D4C3CE325244}"/>
          </ac:cxnSpMkLst>
        </pc:cxnChg>
        <pc:cxnChg chg="add mod">
          <ac:chgData name="Richerzhagen, Bjoern (T CED WLN-DE)" userId="1be7a072-4164-461c-b9ed-ae3c5d97c1a8" providerId="ADAL" clId="{A27AFCC7-D8F6-44BC-A001-AAF1884E580A}" dt="2022-03-01T15:54:46.203" v="8104"/>
          <ac:cxnSpMkLst>
            <pc:docMk/>
            <pc:sldMk cId="793849896" sldId="2147374027"/>
            <ac:cxnSpMk id="88" creationId="{A98AE921-E9F6-4CDA-921C-E133F4E4BD34}"/>
          </ac:cxnSpMkLst>
        </pc:cxnChg>
        <pc:cxnChg chg="add mod">
          <ac:chgData name="Richerzhagen, Bjoern (T CED WLN-DE)" userId="1be7a072-4164-461c-b9ed-ae3c5d97c1a8" providerId="ADAL" clId="{A27AFCC7-D8F6-44BC-A001-AAF1884E580A}" dt="2022-03-01T15:54:46.203" v="8104"/>
          <ac:cxnSpMkLst>
            <pc:docMk/>
            <pc:sldMk cId="793849896" sldId="2147374027"/>
            <ac:cxnSpMk id="94" creationId="{401F81D9-DD3B-41ED-AECC-E986FB5967AA}"/>
          </ac:cxnSpMkLst>
        </pc:cxnChg>
        <pc:cxnChg chg="add mod">
          <ac:chgData name="Richerzhagen, Bjoern (T CED WLN-DE)" userId="1be7a072-4164-461c-b9ed-ae3c5d97c1a8" providerId="ADAL" clId="{A27AFCC7-D8F6-44BC-A001-AAF1884E580A}" dt="2022-03-01T15:54:46.203" v="8104"/>
          <ac:cxnSpMkLst>
            <pc:docMk/>
            <pc:sldMk cId="793849896" sldId="2147374027"/>
            <ac:cxnSpMk id="96" creationId="{8C259412-4E28-46C6-AE0F-4D8B9B710D60}"/>
          </ac:cxnSpMkLst>
        </pc:cxnChg>
        <pc:cxnChg chg="add mod">
          <ac:chgData name="Richerzhagen, Bjoern (T CED WLN-DE)" userId="1be7a072-4164-461c-b9ed-ae3c5d97c1a8" providerId="ADAL" clId="{A27AFCC7-D8F6-44BC-A001-AAF1884E580A}" dt="2022-03-01T15:54:46.203" v="8104"/>
          <ac:cxnSpMkLst>
            <pc:docMk/>
            <pc:sldMk cId="793849896" sldId="2147374027"/>
            <ac:cxnSpMk id="99" creationId="{8AD1AE6D-FBC5-4826-8CB1-BA262F6C11D4}"/>
          </ac:cxnSpMkLst>
        </pc:cxnChg>
        <pc:cxnChg chg="add mod">
          <ac:chgData name="Richerzhagen, Bjoern (T CED WLN-DE)" userId="1be7a072-4164-461c-b9ed-ae3c5d97c1a8" providerId="ADAL" clId="{A27AFCC7-D8F6-44BC-A001-AAF1884E580A}" dt="2022-03-01T15:54:46.203" v="8104"/>
          <ac:cxnSpMkLst>
            <pc:docMk/>
            <pc:sldMk cId="793849896" sldId="2147374027"/>
            <ac:cxnSpMk id="100" creationId="{7E8268C5-AC04-4392-88E7-A2985285FF7B}"/>
          </ac:cxnSpMkLst>
        </pc:cxnChg>
        <pc:cxnChg chg="add mod">
          <ac:chgData name="Richerzhagen, Bjoern (T CED WLN-DE)" userId="1be7a072-4164-461c-b9ed-ae3c5d97c1a8" providerId="ADAL" clId="{A27AFCC7-D8F6-44BC-A001-AAF1884E580A}" dt="2022-03-01T15:54:46.203" v="8104"/>
          <ac:cxnSpMkLst>
            <pc:docMk/>
            <pc:sldMk cId="793849896" sldId="2147374027"/>
            <ac:cxnSpMk id="101" creationId="{C7BEF0B8-0423-4A9B-B0E8-C839FAF07A59}"/>
          </ac:cxnSpMkLst>
        </pc:cxnChg>
        <pc:cxnChg chg="add mod">
          <ac:chgData name="Richerzhagen, Bjoern (T CED WLN-DE)" userId="1be7a072-4164-461c-b9ed-ae3c5d97c1a8" providerId="ADAL" clId="{A27AFCC7-D8F6-44BC-A001-AAF1884E580A}" dt="2022-03-01T15:54:46.203" v="8104"/>
          <ac:cxnSpMkLst>
            <pc:docMk/>
            <pc:sldMk cId="793849896" sldId="2147374027"/>
            <ac:cxnSpMk id="102" creationId="{23300202-540C-4F74-A8C2-1FB74B1E0539}"/>
          </ac:cxnSpMkLst>
        </pc:cxnChg>
        <pc:cxnChg chg="add mod">
          <ac:chgData name="Richerzhagen, Bjoern (T CED WLN-DE)" userId="1be7a072-4164-461c-b9ed-ae3c5d97c1a8" providerId="ADAL" clId="{A27AFCC7-D8F6-44BC-A001-AAF1884E580A}" dt="2022-03-01T15:54:46.203" v="8104"/>
          <ac:cxnSpMkLst>
            <pc:docMk/>
            <pc:sldMk cId="793849896" sldId="2147374027"/>
            <ac:cxnSpMk id="103" creationId="{7A01ED06-504A-49ED-BFE5-A214C66A3E20}"/>
          </ac:cxnSpMkLst>
        </pc:cxnChg>
      </pc:sldChg>
      <pc:sldChg chg="addSp delSp modSp add del mod">
        <pc:chgData name="Richerzhagen, Bjoern (T CED WLN-DE)" userId="1be7a072-4164-461c-b9ed-ae3c5d97c1a8" providerId="ADAL" clId="{A27AFCC7-D8F6-44BC-A001-AAF1884E580A}" dt="2022-03-02T08:11:13.615" v="11616" actId="47"/>
        <pc:sldMkLst>
          <pc:docMk/>
          <pc:sldMk cId="2960214" sldId="2147374028"/>
        </pc:sldMkLst>
        <pc:spChg chg="del mod">
          <ac:chgData name="Richerzhagen, Bjoern (T CED WLN-DE)" userId="1be7a072-4164-461c-b9ed-ae3c5d97c1a8" providerId="ADAL" clId="{A27AFCC7-D8F6-44BC-A001-AAF1884E580A}" dt="2022-03-02T07:37:31.702" v="10862" actId="478"/>
          <ac:spMkLst>
            <pc:docMk/>
            <pc:sldMk cId="2960214" sldId="2147374028"/>
            <ac:spMk id="2" creationId="{D69F136F-343A-4310-9D24-43C1581A7CBF}"/>
          </ac:spMkLst>
        </pc:spChg>
        <pc:spChg chg="mod">
          <ac:chgData name="Richerzhagen, Bjoern (T CED WLN-DE)" userId="1be7a072-4164-461c-b9ed-ae3c5d97c1a8" providerId="ADAL" clId="{A27AFCC7-D8F6-44BC-A001-AAF1884E580A}" dt="2022-03-02T08:10:11.101" v="11504" actId="6549"/>
          <ac:spMkLst>
            <pc:docMk/>
            <pc:sldMk cId="2960214" sldId="2147374028"/>
            <ac:spMk id="5" creationId="{30333122-4CB5-44EF-BDCB-FE8BCF4A1840}"/>
          </ac:spMkLst>
        </pc:spChg>
        <pc:spChg chg="mod">
          <ac:chgData name="Richerzhagen, Bjoern (T CED WLN-DE)" userId="1be7a072-4164-461c-b9ed-ae3c5d97c1a8" providerId="ADAL" clId="{A27AFCC7-D8F6-44BC-A001-AAF1884E580A}" dt="2022-03-02T08:10:35.288" v="11610" actId="1076"/>
          <ac:spMkLst>
            <pc:docMk/>
            <pc:sldMk cId="2960214" sldId="2147374028"/>
            <ac:spMk id="13" creationId="{93F6ED12-A27B-438E-9080-B828F8DBD4DE}"/>
          </ac:spMkLst>
        </pc:spChg>
        <pc:spChg chg="add del mod">
          <ac:chgData name="Richerzhagen, Bjoern (T CED WLN-DE)" userId="1be7a072-4164-461c-b9ed-ae3c5d97c1a8" providerId="ADAL" clId="{A27AFCC7-D8F6-44BC-A001-AAF1884E580A}" dt="2022-03-02T07:37:38.303" v="10864" actId="478"/>
          <ac:spMkLst>
            <pc:docMk/>
            <pc:sldMk cId="2960214" sldId="2147374028"/>
            <ac:spMk id="14" creationId="{3B1C3418-8D02-4FBE-9F47-F5F3891BB55E}"/>
          </ac:spMkLst>
        </pc:spChg>
      </pc:sldChg>
      <pc:sldChg chg="modSp add mod modNotes modNotesTx">
        <pc:chgData name="Richerzhagen, Bjoern (T CED WLN-DE)" userId="1be7a072-4164-461c-b9ed-ae3c5d97c1a8" providerId="ADAL" clId="{A27AFCC7-D8F6-44BC-A001-AAF1884E580A}" dt="2022-03-08T08:41:03.505" v="20524" actId="20577"/>
        <pc:sldMkLst>
          <pc:docMk/>
          <pc:sldMk cId="2227989475" sldId="2147374028"/>
        </pc:sldMkLst>
        <pc:spChg chg="mod">
          <ac:chgData name="Richerzhagen, Bjoern (T CED WLN-DE)" userId="1be7a072-4164-461c-b9ed-ae3c5d97c1a8" providerId="ADAL" clId="{A27AFCC7-D8F6-44BC-A001-AAF1884E580A}" dt="2022-03-02T08:21:25.099" v="11663" actId="207"/>
          <ac:spMkLst>
            <pc:docMk/>
            <pc:sldMk cId="2227989475" sldId="2147374028"/>
            <ac:spMk id="17" creationId="{9D64EED9-9087-412A-A548-7A4A8F8C29AC}"/>
          </ac:spMkLst>
        </pc:spChg>
        <pc:spChg chg="mod">
          <ac:chgData name="Richerzhagen, Bjoern (T CED WLN-DE)" userId="1be7a072-4164-461c-b9ed-ae3c5d97c1a8" providerId="ADAL" clId="{A27AFCC7-D8F6-44BC-A001-AAF1884E580A}" dt="2022-03-02T08:21:25.099" v="11663" actId="207"/>
          <ac:spMkLst>
            <pc:docMk/>
            <pc:sldMk cId="2227989475" sldId="2147374028"/>
            <ac:spMk id="23" creationId="{646214A0-DF02-498A-A1E8-848391364C48}"/>
          </ac:spMkLst>
        </pc:spChg>
        <pc:spChg chg="mod">
          <ac:chgData name="Richerzhagen, Bjoern (T CED WLN-DE)" userId="1be7a072-4164-461c-b9ed-ae3c5d97c1a8" providerId="ADAL" clId="{A27AFCC7-D8F6-44BC-A001-AAF1884E580A}" dt="2022-03-02T08:21:25.099" v="11663" actId="207"/>
          <ac:spMkLst>
            <pc:docMk/>
            <pc:sldMk cId="2227989475" sldId="2147374028"/>
            <ac:spMk id="24" creationId="{0B515B0F-17DD-4022-8903-3C9B0156F02C}"/>
          </ac:spMkLst>
        </pc:spChg>
      </pc:sldChg>
      <pc:sldChg chg="modSp add mod modNotes modNotesTx">
        <pc:chgData name="Richerzhagen, Bjoern (T CED WLN-DE)" userId="1be7a072-4164-461c-b9ed-ae3c5d97c1a8" providerId="ADAL" clId="{A27AFCC7-D8F6-44BC-A001-AAF1884E580A}" dt="2022-03-08T09:16:45.457" v="27861" actId="113"/>
        <pc:sldMkLst>
          <pc:docMk/>
          <pc:sldMk cId="2924548950" sldId="2147374029"/>
        </pc:sldMkLst>
        <pc:spChg chg="mod">
          <ac:chgData name="Richerzhagen, Bjoern (T CED WLN-DE)" userId="1be7a072-4164-461c-b9ed-ae3c5d97c1a8" providerId="ADAL" clId="{A27AFCC7-D8F6-44BC-A001-AAF1884E580A}" dt="2022-03-02T08:21:45.440" v="11668" actId="207"/>
          <ac:spMkLst>
            <pc:docMk/>
            <pc:sldMk cId="2924548950" sldId="2147374029"/>
            <ac:spMk id="5" creationId="{9781BFBE-B86A-4F60-AFC4-BEF92648CB97}"/>
          </ac:spMkLst>
        </pc:spChg>
        <pc:spChg chg="mod">
          <ac:chgData name="Richerzhagen, Bjoern (T CED WLN-DE)" userId="1be7a072-4164-461c-b9ed-ae3c5d97c1a8" providerId="ADAL" clId="{A27AFCC7-D8F6-44BC-A001-AAF1884E580A}" dt="2022-03-02T08:21:45.440" v="11668" actId="207"/>
          <ac:spMkLst>
            <pc:docMk/>
            <pc:sldMk cId="2924548950" sldId="2147374029"/>
            <ac:spMk id="23" creationId="{646214A0-DF02-498A-A1E8-848391364C48}"/>
          </ac:spMkLst>
        </pc:spChg>
        <pc:spChg chg="mod">
          <ac:chgData name="Richerzhagen, Bjoern (T CED WLN-DE)" userId="1be7a072-4164-461c-b9ed-ae3c5d97c1a8" providerId="ADAL" clId="{A27AFCC7-D8F6-44BC-A001-AAF1884E580A}" dt="2022-03-02T08:21:45.440" v="11668" actId="207"/>
          <ac:spMkLst>
            <pc:docMk/>
            <pc:sldMk cId="2924548950" sldId="2147374029"/>
            <ac:spMk id="24" creationId="{0B515B0F-17DD-4022-8903-3C9B0156F02C}"/>
          </ac:spMkLst>
        </pc:spChg>
      </pc:sldChg>
      <pc:sldChg chg="modSp add mod modNotes modNotesTx">
        <pc:chgData name="Richerzhagen, Bjoern (T CED WLN-DE)" userId="1be7a072-4164-461c-b9ed-ae3c5d97c1a8" providerId="ADAL" clId="{A27AFCC7-D8F6-44BC-A001-AAF1884E580A}" dt="2022-03-08T09:41:09.697" v="31238" actId="20577"/>
        <pc:sldMkLst>
          <pc:docMk/>
          <pc:sldMk cId="3875107212" sldId="2147374030"/>
        </pc:sldMkLst>
        <pc:spChg chg="mod">
          <ac:chgData name="Richerzhagen, Bjoern (T CED WLN-DE)" userId="1be7a072-4164-461c-b9ed-ae3c5d97c1a8" providerId="ADAL" clId="{A27AFCC7-D8F6-44BC-A001-AAF1884E580A}" dt="2022-03-02T08:21:56.255" v="11670" actId="207"/>
          <ac:spMkLst>
            <pc:docMk/>
            <pc:sldMk cId="3875107212" sldId="2147374030"/>
            <ac:spMk id="5" creationId="{9781BFBE-B86A-4F60-AFC4-BEF92648CB97}"/>
          </ac:spMkLst>
        </pc:spChg>
        <pc:spChg chg="mod">
          <ac:chgData name="Richerzhagen, Bjoern (T CED WLN-DE)" userId="1be7a072-4164-461c-b9ed-ae3c5d97c1a8" providerId="ADAL" clId="{A27AFCC7-D8F6-44BC-A001-AAF1884E580A}" dt="2022-03-02T08:21:56.255" v="11670" actId="207"/>
          <ac:spMkLst>
            <pc:docMk/>
            <pc:sldMk cId="3875107212" sldId="2147374030"/>
            <ac:spMk id="17" creationId="{9D64EED9-9087-412A-A548-7A4A8F8C29AC}"/>
          </ac:spMkLst>
        </pc:spChg>
        <pc:spChg chg="mod">
          <ac:chgData name="Richerzhagen, Bjoern (T CED WLN-DE)" userId="1be7a072-4164-461c-b9ed-ae3c5d97c1a8" providerId="ADAL" clId="{A27AFCC7-D8F6-44BC-A001-AAF1884E580A}" dt="2022-03-02T08:21:56.255" v="11670" actId="207"/>
          <ac:spMkLst>
            <pc:docMk/>
            <pc:sldMk cId="3875107212" sldId="2147374030"/>
            <ac:spMk id="24" creationId="{0B515B0F-17DD-4022-8903-3C9B0156F02C}"/>
          </ac:spMkLst>
        </pc:spChg>
      </pc:sldChg>
      <pc:sldChg chg="modSp add mod modNotes modNotesTx">
        <pc:chgData name="Richerzhagen, Bjoern (T CED WLN-DE)" userId="1be7a072-4164-461c-b9ed-ae3c5d97c1a8" providerId="ADAL" clId="{A27AFCC7-D8F6-44BC-A001-AAF1884E580A}" dt="2022-03-08T10:07:09.500" v="34109" actId="20577"/>
        <pc:sldMkLst>
          <pc:docMk/>
          <pc:sldMk cId="3982930373" sldId="2147374031"/>
        </pc:sldMkLst>
        <pc:spChg chg="mod">
          <ac:chgData name="Richerzhagen, Bjoern (T CED WLN-DE)" userId="1be7a072-4164-461c-b9ed-ae3c5d97c1a8" providerId="ADAL" clId="{A27AFCC7-D8F6-44BC-A001-AAF1884E580A}" dt="2022-03-02T08:22:04.283" v="11672" actId="207"/>
          <ac:spMkLst>
            <pc:docMk/>
            <pc:sldMk cId="3982930373" sldId="2147374031"/>
            <ac:spMk id="5" creationId="{9781BFBE-B86A-4F60-AFC4-BEF92648CB97}"/>
          </ac:spMkLst>
        </pc:spChg>
        <pc:spChg chg="mod">
          <ac:chgData name="Richerzhagen, Bjoern (T CED WLN-DE)" userId="1be7a072-4164-461c-b9ed-ae3c5d97c1a8" providerId="ADAL" clId="{A27AFCC7-D8F6-44BC-A001-AAF1884E580A}" dt="2022-03-02T08:22:04.283" v="11672" actId="207"/>
          <ac:spMkLst>
            <pc:docMk/>
            <pc:sldMk cId="3982930373" sldId="2147374031"/>
            <ac:spMk id="17" creationId="{9D64EED9-9087-412A-A548-7A4A8F8C29AC}"/>
          </ac:spMkLst>
        </pc:spChg>
        <pc:spChg chg="mod">
          <ac:chgData name="Richerzhagen, Bjoern (T CED WLN-DE)" userId="1be7a072-4164-461c-b9ed-ae3c5d97c1a8" providerId="ADAL" clId="{A27AFCC7-D8F6-44BC-A001-AAF1884E580A}" dt="2022-03-02T08:22:04.283" v="11672" actId="207"/>
          <ac:spMkLst>
            <pc:docMk/>
            <pc:sldMk cId="3982930373" sldId="2147374031"/>
            <ac:spMk id="23" creationId="{646214A0-DF02-498A-A1E8-848391364C48}"/>
          </ac:spMkLst>
        </pc:spChg>
      </pc:sldChg>
      <pc:sldChg chg="add del mod modShow modNotes">
        <pc:chgData name="Richerzhagen, Bjoern (T CED WLN-DE)" userId="1be7a072-4164-461c-b9ed-ae3c5d97c1a8" providerId="ADAL" clId="{A27AFCC7-D8F6-44BC-A001-AAF1884E580A}" dt="2022-03-02T13:30:07.727" v="13673" actId="47"/>
        <pc:sldMkLst>
          <pc:docMk/>
          <pc:sldMk cId="1141054556" sldId="2147374032"/>
        </pc:sldMkLst>
      </pc:sldChg>
      <pc:sldChg chg="addSp delSp modSp new mod ord modShow chgLayout modNotes">
        <pc:chgData name="Richerzhagen, Bjoern (T CED WLN-DE)" userId="1be7a072-4164-461c-b9ed-ae3c5d97c1a8" providerId="ADAL" clId="{A27AFCC7-D8F6-44BC-A001-AAF1884E580A}" dt="2022-03-02T13:04:35.317" v="13025"/>
        <pc:sldMkLst>
          <pc:docMk/>
          <pc:sldMk cId="1419402340" sldId="2147374033"/>
        </pc:sldMkLst>
        <pc:spChg chg="del">
          <ac:chgData name="Richerzhagen, Bjoern (T CED WLN-DE)" userId="1be7a072-4164-461c-b9ed-ae3c5d97c1a8" providerId="ADAL" clId="{A27AFCC7-D8F6-44BC-A001-AAF1884E580A}" dt="2022-03-02T09:49:45.989" v="12029" actId="700"/>
          <ac:spMkLst>
            <pc:docMk/>
            <pc:sldMk cId="1419402340" sldId="2147374033"/>
            <ac:spMk id="2" creationId="{AF7E25DA-6F54-4E74-952B-7F3751FE33AE}"/>
          </ac:spMkLst>
        </pc:spChg>
        <pc:spChg chg="del">
          <ac:chgData name="Richerzhagen, Bjoern (T CED WLN-DE)" userId="1be7a072-4164-461c-b9ed-ae3c5d97c1a8" providerId="ADAL" clId="{A27AFCC7-D8F6-44BC-A001-AAF1884E580A}" dt="2022-03-02T09:49:45.989" v="12029" actId="700"/>
          <ac:spMkLst>
            <pc:docMk/>
            <pc:sldMk cId="1419402340" sldId="2147374033"/>
            <ac:spMk id="3" creationId="{3EC2CE74-5C64-4F0E-AFC1-E6029A0FA2F6}"/>
          </ac:spMkLst>
        </pc:spChg>
        <pc:spChg chg="add del mod">
          <ac:chgData name="Richerzhagen, Bjoern (T CED WLN-DE)" userId="1be7a072-4164-461c-b9ed-ae3c5d97c1a8" providerId="ADAL" clId="{A27AFCC7-D8F6-44BC-A001-AAF1884E580A}" dt="2022-03-02T09:49:05.584" v="12023"/>
          <ac:spMkLst>
            <pc:docMk/>
            <pc:sldMk cId="1419402340" sldId="2147374033"/>
            <ac:spMk id="4" creationId="{AD7A02B6-1DF7-405B-975E-D02CB9C8E0DF}"/>
          </ac:spMkLst>
        </pc:spChg>
        <pc:spChg chg="add del mod">
          <ac:chgData name="Richerzhagen, Bjoern (T CED WLN-DE)" userId="1be7a072-4164-461c-b9ed-ae3c5d97c1a8" providerId="ADAL" clId="{A27AFCC7-D8F6-44BC-A001-AAF1884E580A}" dt="2022-03-02T09:49:05.584" v="12023"/>
          <ac:spMkLst>
            <pc:docMk/>
            <pc:sldMk cId="1419402340" sldId="2147374033"/>
            <ac:spMk id="6" creationId="{2B50BB30-52B2-49A3-AFEB-A4FDF530417A}"/>
          </ac:spMkLst>
        </pc:spChg>
        <pc:spChg chg="add del mod">
          <ac:chgData name="Richerzhagen, Bjoern (T CED WLN-DE)" userId="1be7a072-4164-461c-b9ed-ae3c5d97c1a8" providerId="ADAL" clId="{A27AFCC7-D8F6-44BC-A001-AAF1884E580A}" dt="2022-03-02T09:49:05.584" v="12023"/>
          <ac:spMkLst>
            <pc:docMk/>
            <pc:sldMk cId="1419402340" sldId="2147374033"/>
            <ac:spMk id="7" creationId="{B0D7004B-C9B3-4147-89EC-2F2287B82304}"/>
          </ac:spMkLst>
        </pc:spChg>
        <pc:spChg chg="add del mod">
          <ac:chgData name="Richerzhagen, Bjoern (T CED WLN-DE)" userId="1be7a072-4164-461c-b9ed-ae3c5d97c1a8" providerId="ADAL" clId="{A27AFCC7-D8F6-44BC-A001-AAF1884E580A}" dt="2022-03-02T09:49:05.584" v="12023"/>
          <ac:spMkLst>
            <pc:docMk/>
            <pc:sldMk cId="1419402340" sldId="2147374033"/>
            <ac:spMk id="8" creationId="{76F4AE22-95F2-460E-9609-4AE9293AD752}"/>
          </ac:spMkLst>
        </pc:spChg>
        <pc:spChg chg="add del mod">
          <ac:chgData name="Richerzhagen, Bjoern (T CED WLN-DE)" userId="1be7a072-4164-461c-b9ed-ae3c5d97c1a8" providerId="ADAL" clId="{A27AFCC7-D8F6-44BC-A001-AAF1884E580A}" dt="2022-03-02T09:49:05.584" v="12023"/>
          <ac:spMkLst>
            <pc:docMk/>
            <pc:sldMk cId="1419402340" sldId="2147374033"/>
            <ac:spMk id="12" creationId="{B9F74D28-0115-4D9B-8547-0E6B6E0C4984}"/>
          </ac:spMkLst>
        </pc:spChg>
        <pc:spChg chg="add del mod">
          <ac:chgData name="Richerzhagen, Bjoern (T CED WLN-DE)" userId="1be7a072-4164-461c-b9ed-ae3c5d97c1a8" providerId="ADAL" clId="{A27AFCC7-D8F6-44BC-A001-AAF1884E580A}" dt="2022-03-02T09:49:05.584" v="12023"/>
          <ac:spMkLst>
            <pc:docMk/>
            <pc:sldMk cId="1419402340" sldId="2147374033"/>
            <ac:spMk id="13" creationId="{42273193-10C5-46FD-8DCC-043001F59E7E}"/>
          </ac:spMkLst>
        </pc:spChg>
        <pc:spChg chg="add del mod">
          <ac:chgData name="Richerzhagen, Bjoern (T CED WLN-DE)" userId="1be7a072-4164-461c-b9ed-ae3c5d97c1a8" providerId="ADAL" clId="{A27AFCC7-D8F6-44BC-A001-AAF1884E580A}" dt="2022-03-02T09:49:05.584" v="12023"/>
          <ac:spMkLst>
            <pc:docMk/>
            <pc:sldMk cId="1419402340" sldId="2147374033"/>
            <ac:spMk id="17" creationId="{BE0DD74B-898B-4985-B79B-5FC6FDEBEB05}"/>
          </ac:spMkLst>
        </pc:spChg>
        <pc:spChg chg="add del mod">
          <ac:chgData name="Richerzhagen, Bjoern (T CED WLN-DE)" userId="1be7a072-4164-461c-b9ed-ae3c5d97c1a8" providerId="ADAL" clId="{A27AFCC7-D8F6-44BC-A001-AAF1884E580A}" dt="2022-03-02T09:49:05.584" v="12023"/>
          <ac:spMkLst>
            <pc:docMk/>
            <pc:sldMk cId="1419402340" sldId="2147374033"/>
            <ac:spMk id="18" creationId="{32DC77B5-9B46-4828-978C-04A8B7BD39DF}"/>
          </ac:spMkLst>
        </pc:spChg>
        <pc:spChg chg="add del mod">
          <ac:chgData name="Richerzhagen, Bjoern (T CED WLN-DE)" userId="1be7a072-4164-461c-b9ed-ae3c5d97c1a8" providerId="ADAL" clId="{A27AFCC7-D8F6-44BC-A001-AAF1884E580A}" dt="2022-03-02T09:49:05.584" v="12023"/>
          <ac:spMkLst>
            <pc:docMk/>
            <pc:sldMk cId="1419402340" sldId="2147374033"/>
            <ac:spMk id="26" creationId="{F1567068-BA81-4E99-9B7D-0D2DA2256A7E}"/>
          </ac:spMkLst>
        </pc:spChg>
        <pc:spChg chg="add del mod">
          <ac:chgData name="Richerzhagen, Bjoern (T CED WLN-DE)" userId="1be7a072-4164-461c-b9ed-ae3c5d97c1a8" providerId="ADAL" clId="{A27AFCC7-D8F6-44BC-A001-AAF1884E580A}" dt="2022-03-02T09:49:05.584" v="12023"/>
          <ac:spMkLst>
            <pc:docMk/>
            <pc:sldMk cId="1419402340" sldId="2147374033"/>
            <ac:spMk id="28" creationId="{F1C089D1-4C07-4F62-AD56-7BEE05305153}"/>
          </ac:spMkLst>
        </pc:spChg>
        <pc:spChg chg="add del mod">
          <ac:chgData name="Richerzhagen, Bjoern (T CED WLN-DE)" userId="1be7a072-4164-461c-b9ed-ae3c5d97c1a8" providerId="ADAL" clId="{A27AFCC7-D8F6-44BC-A001-AAF1884E580A}" dt="2022-03-02T09:49:05.584" v="12023"/>
          <ac:spMkLst>
            <pc:docMk/>
            <pc:sldMk cId="1419402340" sldId="2147374033"/>
            <ac:spMk id="29" creationId="{A834BBAE-3D00-48CB-BBDC-C951F4681083}"/>
          </ac:spMkLst>
        </pc:spChg>
        <pc:spChg chg="add del mod">
          <ac:chgData name="Richerzhagen, Bjoern (T CED WLN-DE)" userId="1be7a072-4164-461c-b9ed-ae3c5d97c1a8" providerId="ADAL" clId="{A27AFCC7-D8F6-44BC-A001-AAF1884E580A}" dt="2022-03-02T09:49:05.584" v="12023"/>
          <ac:spMkLst>
            <pc:docMk/>
            <pc:sldMk cId="1419402340" sldId="2147374033"/>
            <ac:spMk id="32" creationId="{43783AE6-E1E3-4813-808B-B68BBCB8EDFE}"/>
          </ac:spMkLst>
        </pc:spChg>
        <pc:spChg chg="add del mod">
          <ac:chgData name="Richerzhagen, Bjoern (T CED WLN-DE)" userId="1be7a072-4164-461c-b9ed-ae3c5d97c1a8" providerId="ADAL" clId="{A27AFCC7-D8F6-44BC-A001-AAF1884E580A}" dt="2022-03-02T09:49:05.584" v="12023"/>
          <ac:spMkLst>
            <pc:docMk/>
            <pc:sldMk cId="1419402340" sldId="2147374033"/>
            <ac:spMk id="34" creationId="{64897AEB-F833-4924-8884-8F1932423B3E}"/>
          </ac:spMkLst>
        </pc:spChg>
        <pc:spChg chg="add del mod">
          <ac:chgData name="Richerzhagen, Bjoern (T CED WLN-DE)" userId="1be7a072-4164-461c-b9ed-ae3c5d97c1a8" providerId="ADAL" clId="{A27AFCC7-D8F6-44BC-A001-AAF1884E580A}" dt="2022-03-02T09:49:05.584" v="12023"/>
          <ac:spMkLst>
            <pc:docMk/>
            <pc:sldMk cId="1419402340" sldId="2147374033"/>
            <ac:spMk id="36" creationId="{5C07FD50-F24C-43EB-A933-4AF9E3FF25F9}"/>
          </ac:spMkLst>
        </pc:spChg>
        <pc:spChg chg="add del mod">
          <ac:chgData name="Richerzhagen, Bjoern (T CED WLN-DE)" userId="1be7a072-4164-461c-b9ed-ae3c5d97c1a8" providerId="ADAL" clId="{A27AFCC7-D8F6-44BC-A001-AAF1884E580A}" dt="2022-03-02T09:49:05.584" v="12023"/>
          <ac:spMkLst>
            <pc:docMk/>
            <pc:sldMk cId="1419402340" sldId="2147374033"/>
            <ac:spMk id="38" creationId="{8AFCE5B0-171F-46BB-AC0E-62BD9719A466}"/>
          </ac:spMkLst>
        </pc:spChg>
        <pc:spChg chg="add del mod">
          <ac:chgData name="Richerzhagen, Bjoern (T CED WLN-DE)" userId="1be7a072-4164-461c-b9ed-ae3c5d97c1a8" providerId="ADAL" clId="{A27AFCC7-D8F6-44BC-A001-AAF1884E580A}" dt="2022-03-02T09:49:05.584" v="12023"/>
          <ac:spMkLst>
            <pc:docMk/>
            <pc:sldMk cId="1419402340" sldId="2147374033"/>
            <ac:spMk id="40" creationId="{C91E6C0B-5F88-45BD-9A55-40036A4642EB}"/>
          </ac:spMkLst>
        </pc:spChg>
        <pc:spChg chg="add del mod">
          <ac:chgData name="Richerzhagen, Bjoern (T CED WLN-DE)" userId="1be7a072-4164-461c-b9ed-ae3c5d97c1a8" providerId="ADAL" clId="{A27AFCC7-D8F6-44BC-A001-AAF1884E580A}" dt="2022-03-02T09:49:30.083" v="12028" actId="478"/>
          <ac:spMkLst>
            <pc:docMk/>
            <pc:sldMk cId="1419402340" sldId="2147374033"/>
            <ac:spMk id="41" creationId="{A290FC25-4B66-4AA3-81A9-AF67EF9DE648}"/>
          </ac:spMkLst>
        </pc:spChg>
        <pc:spChg chg="add del mod">
          <ac:chgData name="Richerzhagen, Bjoern (T CED WLN-DE)" userId="1be7a072-4164-461c-b9ed-ae3c5d97c1a8" providerId="ADAL" clId="{A27AFCC7-D8F6-44BC-A001-AAF1884E580A}" dt="2022-03-02T09:49:30.083" v="12028" actId="478"/>
          <ac:spMkLst>
            <pc:docMk/>
            <pc:sldMk cId="1419402340" sldId="2147374033"/>
            <ac:spMk id="43" creationId="{371E2DEC-9D26-4D95-A3EB-182265A5F72C}"/>
          </ac:spMkLst>
        </pc:spChg>
        <pc:spChg chg="add del mod">
          <ac:chgData name="Richerzhagen, Bjoern (T CED WLN-DE)" userId="1be7a072-4164-461c-b9ed-ae3c5d97c1a8" providerId="ADAL" clId="{A27AFCC7-D8F6-44BC-A001-AAF1884E580A}" dt="2022-03-02T09:49:30.083" v="12028" actId="478"/>
          <ac:spMkLst>
            <pc:docMk/>
            <pc:sldMk cId="1419402340" sldId="2147374033"/>
            <ac:spMk id="44" creationId="{95A0D898-B4A2-444F-8C4E-2F07FE4F9792}"/>
          </ac:spMkLst>
        </pc:spChg>
        <pc:spChg chg="add del mod">
          <ac:chgData name="Richerzhagen, Bjoern (T CED WLN-DE)" userId="1be7a072-4164-461c-b9ed-ae3c5d97c1a8" providerId="ADAL" clId="{A27AFCC7-D8F6-44BC-A001-AAF1884E580A}" dt="2022-03-02T09:49:30.083" v="12028" actId="478"/>
          <ac:spMkLst>
            <pc:docMk/>
            <pc:sldMk cId="1419402340" sldId="2147374033"/>
            <ac:spMk id="45" creationId="{E2F888C4-5BAA-41BB-A99C-7A30C138051C}"/>
          </ac:spMkLst>
        </pc:spChg>
        <pc:spChg chg="add del mod">
          <ac:chgData name="Richerzhagen, Bjoern (T CED WLN-DE)" userId="1be7a072-4164-461c-b9ed-ae3c5d97c1a8" providerId="ADAL" clId="{A27AFCC7-D8F6-44BC-A001-AAF1884E580A}" dt="2022-03-02T09:49:30.083" v="12028" actId="478"/>
          <ac:spMkLst>
            <pc:docMk/>
            <pc:sldMk cId="1419402340" sldId="2147374033"/>
            <ac:spMk id="49" creationId="{F018B7BB-3722-4092-A106-68CC0F11A122}"/>
          </ac:spMkLst>
        </pc:spChg>
        <pc:spChg chg="add del mod">
          <ac:chgData name="Richerzhagen, Bjoern (T CED WLN-DE)" userId="1be7a072-4164-461c-b9ed-ae3c5d97c1a8" providerId="ADAL" clId="{A27AFCC7-D8F6-44BC-A001-AAF1884E580A}" dt="2022-03-02T09:49:30.083" v="12028" actId="478"/>
          <ac:spMkLst>
            <pc:docMk/>
            <pc:sldMk cId="1419402340" sldId="2147374033"/>
            <ac:spMk id="50" creationId="{CAB42A65-7026-431E-9F8E-D8EB0692C4A6}"/>
          </ac:spMkLst>
        </pc:spChg>
        <pc:spChg chg="add del mod">
          <ac:chgData name="Richerzhagen, Bjoern (T CED WLN-DE)" userId="1be7a072-4164-461c-b9ed-ae3c5d97c1a8" providerId="ADAL" clId="{A27AFCC7-D8F6-44BC-A001-AAF1884E580A}" dt="2022-03-02T09:49:30.083" v="12028" actId="478"/>
          <ac:spMkLst>
            <pc:docMk/>
            <pc:sldMk cId="1419402340" sldId="2147374033"/>
            <ac:spMk id="54" creationId="{5C28778E-4845-4C46-8A34-D09073F3C756}"/>
          </ac:spMkLst>
        </pc:spChg>
        <pc:spChg chg="add del mod">
          <ac:chgData name="Richerzhagen, Bjoern (T CED WLN-DE)" userId="1be7a072-4164-461c-b9ed-ae3c5d97c1a8" providerId="ADAL" clId="{A27AFCC7-D8F6-44BC-A001-AAF1884E580A}" dt="2022-03-02T09:49:30.083" v="12028" actId="478"/>
          <ac:spMkLst>
            <pc:docMk/>
            <pc:sldMk cId="1419402340" sldId="2147374033"/>
            <ac:spMk id="55" creationId="{FBDB4CAA-75A8-4F9E-8832-9DEB3B22ABFE}"/>
          </ac:spMkLst>
        </pc:spChg>
        <pc:spChg chg="add del mod">
          <ac:chgData name="Richerzhagen, Bjoern (T CED WLN-DE)" userId="1be7a072-4164-461c-b9ed-ae3c5d97c1a8" providerId="ADAL" clId="{A27AFCC7-D8F6-44BC-A001-AAF1884E580A}" dt="2022-03-02T09:49:30.083" v="12028" actId="478"/>
          <ac:spMkLst>
            <pc:docMk/>
            <pc:sldMk cId="1419402340" sldId="2147374033"/>
            <ac:spMk id="63" creationId="{2DFC7611-C833-451E-8F48-D85E147ADB58}"/>
          </ac:spMkLst>
        </pc:spChg>
        <pc:spChg chg="add del mod">
          <ac:chgData name="Richerzhagen, Bjoern (T CED WLN-DE)" userId="1be7a072-4164-461c-b9ed-ae3c5d97c1a8" providerId="ADAL" clId="{A27AFCC7-D8F6-44BC-A001-AAF1884E580A}" dt="2022-03-02T09:49:30.083" v="12028" actId="478"/>
          <ac:spMkLst>
            <pc:docMk/>
            <pc:sldMk cId="1419402340" sldId="2147374033"/>
            <ac:spMk id="65" creationId="{5A07B549-8217-4D3E-A7C4-77EDAD2CDC5C}"/>
          </ac:spMkLst>
        </pc:spChg>
        <pc:spChg chg="add del mod">
          <ac:chgData name="Richerzhagen, Bjoern (T CED WLN-DE)" userId="1be7a072-4164-461c-b9ed-ae3c5d97c1a8" providerId="ADAL" clId="{A27AFCC7-D8F6-44BC-A001-AAF1884E580A}" dt="2022-03-02T09:49:30.083" v="12028" actId="478"/>
          <ac:spMkLst>
            <pc:docMk/>
            <pc:sldMk cId="1419402340" sldId="2147374033"/>
            <ac:spMk id="66" creationId="{022A0939-C7A7-4FE1-9796-D4CD257AA61A}"/>
          </ac:spMkLst>
        </pc:spChg>
        <pc:spChg chg="add del mod">
          <ac:chgData name="Richerzhagen, Bjoern (T CED WLN-DE)" userId="1be7a072-4164-461c-b9ed-ae3c5d97c1a8" providerId="ADAL" clId="{A27AFCC7-D8F6-44BC-A001-AAF1884E580A}" dt="2022-03-02T09:49:30.083" v="12028" actId="478"/>
          <ac:spMkLst>
            <pc:docMk/>
            <pc:sldMk cId="1419402340" sldId="2147374033"/>
            <ac:spMk id="69" creationId="{8E880725-9C57-469F-A67A-E48AFB6D7265}"/>
          </ac:spMkLst>
        </pc:spChg>
        <pc:spChg chg="add del mod">
          <ac:chgData name="Richerzhagen, Bjoern (T CED WLN-DE)" userId="1be7a072-4164-461c-b9ed-ae3c5d97c1a8" providerId="ADAL" clId="{A27AFCC7-D8F6-44BC-A001-AAF1884E580A}" dt="2022-03-02T09:49:30.083" v="12028" actId="478"/>
          <ac:spMkLst>
            <pc:docMk/>
            <pc:sldMk cId="1419402340" sldId="2147374033"/>
            <ac:spMk id="71" creationId="{753F34DA-60EF-4BD6-B3AB-25030430EB88}"/>
          </ac:spMkLst>
        </pc:spChg>
        <pc:spChg chg="add del mod">
          <ac:chgData name="Richerzhagen, Bjoern (T CED WLN-DE)" userId="1be7a072-4164-461c-b9ed-ae3c5d97c1a8" providerId="ADAL" clId="{A27AFCC7-D8F6-44BC-A001-AAF1884E580A}" dt="2022-03-02T09:49:30.083" v="12028" actId="478"/>
          <ac:spMkLst>
            <pc:docMk/>
            <pc:sldMk cId="1419402340" sldId="2147374033"/>
            <ac:spMk id="73" creationId="{73B1E36A-AE8E-4581-AA97-4E5B6E697083}"/>
          </ac:spMkLst>
        </pc:spChg>
        <pc:spChg chg="add del mod">
          <ac:chgData name="Richerzhagen, Bjoern (T CED WLN-DE)" userId="1be7a072-4164-461c-b9ed-ae3c5d97c1a8" providerId="ADAL" clId="{A27AFCC7-D8F6-44BC-A001-AAF1884E580A}" dt="2022-03-02T09:49:30.083" v="12028" actId="478"/>
          <ac:spMkLst>
            <pc:docMk/>
            <pc:sldMk cId="1419402340" sldId="2147374033"/>
            <ac:spMk id="75" creationId="{368FE278-7448-44F6-B059-51CE99BE8779}"/>
          </ac:spMkLst>
        </pc:spChg>
        <pc:spChg chg="add del mod">
          <ac:chgData name="Richerzhagen, Bjoern (T CED WLN-DE)" userId="1be7a072-4164-461c-b9ed-ae3c5d97c1a8" providerId="ADAL" clId="{A27AFCC7-D8F6-44BC-A001-AAF1884E580A}" dt="2022-03-02T09:49:30.083" v="12028" actId="478"/>
          <ac:spMkLst>
            <pc:docMk/>
            <pc:sldMk cId="1419402340" sldId="2147374033"/>
            <ac:spMk id="77" creationId="{9283422F-987F-44C8-B361-D322B13D916A}"/>
          </ac:spMkLst>
        </pc:spChg>
        <pc:spChg chg="add mod ord">
          <ac:chgData name="Richerzhagen, Bjoern (T CED WLN-DE)" userId="1be7a072-4164-461c-b9ed-ae3c5d97c1a8" providerId="ADAL" clId="{A27AFCC7-D8F6-44BC-A001-AAF1884E580A}" dt="2022-03-02T09:56:52.341" v="12278" actId="167"/>
          <ac:spMkLst>
            <pc:docMk/>
            <pc:sldMk cId="1419402340" sldId="2147374033"/>
            <ac:spMk id="78" creationId="{14C5196E-F616-4357-865E-7EF31FDB759A}"/>
          </ac:spMkLst>
        </pc:spChg>
        <pc:spChg chg="add mod">
          <ac:chgData name="Richerzhagen, Bjoern (T CED WLN-DE)" userId="1be7a072-4164-461c-b9ed-ae3c5d97c1a8" providerId="ADAL" clId="{A27AFCC7-D8F6-44BC-A001-AAF1884E580A}" dt="2022-03-02T09:51:00.998" v="12035" actId="207"/>
          <ac:spMkLst>
            <pc:docMk/>
            <pc:sldMk cId="1419402340" sldId="2147374033"/>
            <ac:spMk id="79" creationId="{082DA89C-5B0E-46B5-9196-484E690F5026}"/>
          </ac:spMkLst>
        </pc:spChg>
        <pc:spChg chg="add mod">
          <ac:chgData name="Richerzhagen, Bjoern (T CED WLN-DE)" userId="1be7a072-4164-461c-b9ed-ae3c5d97c1a8" providerId="ADAL" clId="{A27AFCC7-D8F6-44BC-A001-AAF1884E580A}" dt="2022-03-02T09:50:13.523" v="12031" actId="2711"/>
          <ac:spMkLst>
            <pc:docMk/>
            <pc:sldMk cId="1419402340" sldId="2147374033"/>
            <ac:spMk id="80" creationId="{7FE78290-5692-4A58-AF06-D682BE51223A}"/>
          </ac:spMkLst>
        </pc:spChg>
        <pc:spChg chg="add mod">
          <ac:chgData name="Richerzhagen, Bjoern (T CED WLN-DE)" userId="1be7a072-4164-461c-b9ed-ae3c5d97c1a8" providerId="ADAL" clId="{A27AFCC7-D8F6-44BC-A001-AAF1884E580A}" dt="2022-03-02T09:51:00.998" v="12035" actId="207"/>
          <ac:spMkLst>
            <pc:docMk/>
            <pc:sldMk cId="1419402340" sldId="2147374033"/>
            <ac:spMk id="84" creationId="{68629711-F6DA-4010-9E0E-B09105B5BD66}"/>
          </ac:spMkLst>
        </pc:spChg>
        <pc:spChg chg="add mod">
          <ac:chgData name="Richerzhagen, Bjoern (T CED WLN-DE)" userId="1be7a072-4164-461c-b9ed-ae3c5d97c1a8" providerId="ADAL" clId="{A27AFCC7-D8F6-44BC-A001-AAF1884E580A}" dt="2022-03-02T09:50:13.523" v="12031" actId="2711"/>
          <ac:spMkLst>
            <pc:docMk/>
            <pc:sldMk cId="1419402340" sldId="2147374033"/>
            <ac:spMk id="85" creationId="{6D03E4B5-B744-42F2-B0B3-F3D88DC96B8C}"/>
          </ac:spMkLst>
        </pc:spChg>
        <pc:spChg chg="add mod">
          <ac:chgData name="Richerzhagen, Bjoern (T CED WLN-DE)" userId="1be7a072-4164-461c-b9ed-ae3c5d97c1a8" providerId="ADAL" clId="{A27AFCC7-D8F6-44BC-A001-AAF1884E580A}" dt="2022-03-02T09:52:46.705" v="12052" actId="20577"/>
          <ac:spMkLst>
            <pc:docMk/>
            <pc:sldMk cId="1419402340" sldId="2147374033"/>
            <ac:spMk id="89" creationId="{0299FFEB-15A1-4084-9959-F42AB9A1F989}"/>
          </ac:spMkLst>
        </pc:spChg>
        <pc:spChg chg="add mod">
          <ac:chgData name="Richerzhagen, Bjoern (T CED WLN-DE)" userId="1be7a072-4164-461c-b9ed-ae3c5d97c1a8" providerId="ADAL" clId="{A27AFCC7-D8F6-44BC-A001-AAF1884E580A}" dt="2022-03-02T09:50:13.523" v="12031" actId="2711"/>
          <ac:spMkLst>
            <pc:docMk/>
            <pc:sldMk cId="1419402340" sldId="2147374033"/>
            <ac:spMk id="90" creationId="{7D3E2FDD-3221-4EB5-8C4F-80A55FA84830}"/>
          </ac:spMkLst>
        </pc:spChg>
        <pc:spChg chg="add mod ord">
          <ac:chgData name="Richerzhagen, Bjoern (T CED WLN-DE)" userId="1be7a072-4164-461c-b9ed-ae3c5d97c1a8" providerId="ADAL" clId="{A27AFCC7-D8F6-44BC-A001-AAF1884E580A}" dt="2022-03-02T12:56:14.960" v="12784" actId="790"/>
          <ac:spMkLst>
            <pc:docMk/>
            <pc:sldMk cId="1419402340" sldId="2147374033"/>
            <ac:spMk id="94" creationId="{8EC34483-5247-4D01-B6B5-F01EA1762E8D}"/>
          </ac:spMkLst>
        </pc:spChg>
        <pc:spChg chg="add mod ord">
          <ac:chgData name="Richerzhagen, Bjoern (T CED WLN-DE)" userId="1be7a072-4164-461c-b9ed-ae3c5d97c1a8" providerId="ADAL" clId="{A27AFCC7-D8F6-44BC-A001-AAF1884E580A}" dt="2022-03-02T12:56:14.954" v="12781" actId="790"/>
          <ac:spMkLst>
            <pc:docMk/>
            <pc:sldMk cId="1419402340" sldId="2147374033"/>
            <ac:spMk id="95" creationId="{616202B0-69E7-4BB8-9FD2-14584015BE85}"/>
          </ac:spMkLst>
        </pc:spChg>
        <pc:spChg chg="add mod ord">
          <ac:chgData name="Richerzhagen, Bjoern (T CED WLN-DE)" userId="1be7a072-4164-461c-b9ed-ae3c5d97c1a8" providerId="ADAL" clId="{A27AFCC7-D8F6-44BC-A001-AAF1884E580A}" dt="2022-03-02T12:56:14.958" v="12783" actId="790"/>
          <ac:spMkLst>
            <pc:docMk/>
            <pc:sldMk cId="1419402340" sldId="2147374033"/>
            <ac:spMk id="96" creationId="{DB703693-2876-4AD9-AF43-DEB5009DDAFD}"/>
          </ac:spMkLst>
        </pc:spChg>
        <pc:spChg chg="add mod ord">
          <ac:chgData name="Richerzhagen, Bjoern (T CED WLN-DE)" userId="1be7a072-4164-461c-b9ed-ae3c5d97c1a8" providerId="ADAL" clId="{A27AFCC7-D8F6-44BC-A001-AAF1884E580A}" dt="2022-03-02T12:56:14.956" v="12782" actId="790"/>
          <ac:spMkLst>
            <pc:docMk/>
            <pc:sldMk cId="1419402340" sldId="2147374033"/>
            <ac:spMk id="97" creationId="{613E3E62-E6D7-480A-B122-B0FF914FD896}"/>
          </ac:spMkLst>
        </pc:spChg>
        <pc:spChg chg="add mod">
          <ac:chgData name="Richerzhagen, Bjoern (T CED WLN-DE)" userId="1be7a072-4164-461c-b9ed-ae3c5d97c1a8" providerId="ADAL" clId="{A27AFCC7-D8F6-44BC-A001-AAF1884E580A}" dt="2022-03-02T12:56:14.965" v="12785" actId="790"/>
          <ac:spMkLst>
            <pc:docMk/>
            <pc:sldMk cId="1419402340" sldId="2147374033"/>
            <ac:spMk id="100" creationId="{F90C2283-B597-4A72-BDD5-E17554631577}"/>
          </ac:spMkLst>
        </pc:spChg>
        <pc:spChg chg="add mod">
          <ac:chgData name="Richerzhagen, Bjoern (T CED WLN-DE)" userId="1be7a072-4164-461c-b9ed-ae3c5d97c1a8" providerId="ADAL" clId="{A27AFCC7-D8F6-44BC-A001-AAF1884E580A}" dt="2022-03-02T12:56:14.967" v="12786" actId="790"/>
          <ac:spMkLst>
            <pc:docMk/>
            <pc:sldMk cId="1419402340" sldId="2147374033"/>
            <ac:spMk id="101" creationId="{17DD59BA-7FC2-42CE-8CFA-B14903DBA159}"/>
          </ac:spMkLst>
        </pc:spChg>
        <pc:spChg chg="add mod">
          <ac:chgData name="Richerzhagen, Bjoern (T CED WLN-DE)" userId="1be7a072-4164-461c-b9ed-ae3c5d97c1a8" providerId="ADAL" clId="{A27AFCC7-D8F6-44BC-A001-AAF1884E580A}" dt="2022-03-02T12:56:14.967" v="12787" actId="790"/>
          <ac:spMkLst>
            <pc:docMk/>
            <pc:sldMk cId="1419402340" sldId="2147374033"/>
            <ac:spMk id="102" creationId="{25FCA851-327F-4F70-83FB-29E4CBB0FEDD}"/>
          </ac:spMkLst>
        </pc:spChg>
        <pc:spChg chg="add mod">
          <ac:chgData name="Richerzhagen, Bjoern (T CED WLN-DE)" userId="1be7a072-4164-461c-b9ed-ae3c5d97c1a8" providerId="ADAL" clId="{A27AFCC7-D8F6-44BC-A001-AAF1884E580A}" dt="2022-03-02T12:56:14.969" v="12788" actId="790"/>
          <ac:spMkLst>
            <pc:docMk/>
            <pc:sldMk cId="1419402340" sldId="2147374033"/>
            <ac:spMk id="107" creationId="{BD16D45A-6A34-4233-9DC9-7A4C2FECD004}"/>
          </ac:spMkLst>
        </pc:spChg>
        <pc:spChg chg="add del mod">
          <ac:chgData name="Richerzhagen, Bjoern (T CED WLN-DE)" userId="1be7a072-4164-461c-b9ed-ae3c5d97c1a8" providerId="ADAL" clId="{A27AFCC7-D8F6-44BC-A001-AAF1884E580A}" dt="2022-03-02T12:53:28.470" v="12650" actId="478"/>
          <ac:spMkLst>
            <pc:docMk/>
            <pc:sldMk cId="1419402340" sldId="2147374033"/>
            <ac:spMk id="111" creationId="{ED9E6651-5FF7-44CF-943E-519517509DA2}"/>
          </ac:spMkLst>
        </pc:spChg>
        <pc:spChg chg="add mod">
          <ac:chgData name="Richerzhagen, Bjoern (T CED WLN-DE)" userId="1be7a072-4164-461c-b9ed-ae3c5d97c1a8" providerId="ADAL" clId="{A27AFCC7-D8F6-44BC-A001-AAF1884E580A}" dt="2022-03-02T12:53:49.175" v="12659" actId="1076"/>
          <ac:spMkLst>
            <pc:docMk/>
            <pc:sldMk cId="1419402340" sldId="2147374033"/>
            <ac:spMk id="112" creationId="{EE1BB87C-BB77-4894-9243-22FEE321495F}"/>
          </ac:spMkLst>
        </pc:spChg>
        <pc:spChg chg="add mod">
          <ac:chgData name="Richerzhagen, Bjoern (T CED WLN-DE)" userId="1be7a072-4164-461c-b9ed-ae3c5d97c1a8" providerId="ADAL" clId="{A27AFCC7-D8F6-44BC-A001-AAF1884E580A}" dt="2022-03-02T12:55:01.256" v="12679" actId="1076"/>
          <ac:spMkLst>
            <pc:docMk/>
            <pc:sldMk cId="1419402340" sldId="2147374033"/>
            <ac:spMk id="113" creationId="{9DA6E4D8-1426-40A9-800E-4D877041D649}"/>
          </ac:spMkLst>
        </pc:spChg>
        <pc:spChg chg="add mod">
          <ac:chgData name="Richerzhagen, Bjoern (T CED WLN-DE)" userId="1be7a072-4164-461c-b9ed-ae3c5d97c1a8" providerId="ADAL" clId="{A27AFCC7-D8F6-44BC-A001-AAF1884E580A}" dt="2022-03-02T12:55:31.974" v="12687" actId="1076"/>
          <ac:spMkLst>
            <pc:docMk/>
            <pc:sldMk cId="1419402340" sldId="2147374033"/>
            <ac:spMk id="114" creationId="{032DEE5A-7E43-49BC-97E5-AA40C61BF0F0}"/>
          </ac:spMkLst>
        </pc:spChg>
        <pc:spChg chg="add mod">
          <ac:chgData name="Richerzhagen, Bjoern (T CED WLN-DE)" userId="1be7a072-4164-461c-b9ed-ae3c5d97c1a8" providerId="ADAL" clId="{A27AFCC7-D8F6-44BC-A001-AAF1884E580A}" dt="2022-03-02T12:56:53.307" v="12829" actId="1076"/>
          <ac:spMkLst>
            <pc:docMk/>
            <pc:sldMk cId="1419402340" sldId="2147374033"/>
            <ac:spMk id="119" creationId="{49BCA776-CF56-4097-9E44-5F8F0BAEFB33}"/>
          </ac:spMkLst>
        </pc:spChg>
        <pc:spChg chg="add mod">
          <ac:chgData name="Richerzhagen, Bjoern (T CED WLN-DE)" userId="1be7a072-4164-461c-b9ed-ae3c5d97c1a8" providerId="ADAL" clId="{A27AFCC7-D8F6-44BC-A001-AAF1884E580A}" dt="2022-03-02T12:56:41.435" v="12825" actId="1076"/>
          <ac:spMkLst>
            <pc:docMk/>
            <pc:sldMk cId="1419402340" sldId="2147374033"/>
            <ac:spMk id="120" creationId="{88785084-E961-4429-81B8-EBE311BF5F1D}"/>
          </ac:spMkLst>
        </pc:spChg>
        <pc:picChg chg="add del mod">
          <ac:chgData name="Richerzhagen, Bjoern (T CED WLN-DE)" userId="1be7a072-4164-461c-b9ed-ae3c5d97c1a8" providerId="ADAL" clId="{A27AFCC7-D8F6-44BC-A001-AAF1884E580A}" dt="2022-03-02T09:49:05.584" v="12023"/>
          <ac:picMkLst>
            <pc:docMk/>
            <pc:sldMk cId="1419402340" sldId="2147374033"/>
            <ac:picMk id="5" creationId="{78F9BEC4-65CB-40BD-A621-45B5071CD3E0}"/>
          </ac:picMkLst>
        </pc:picChg>
        <pc:picChg chg="add del mod">
          <ac:chgData name="Richerzhagen, Bjoern (T CED WLN-DE)" userId="1be7a072-4164-461c-b9ed-ae3c5d97c1a8" providerId="ADAL" clId="{A27AFCC7-D8F6-44BC-A001-AAF1884E580A}" dt="2022-03-02T09:49:05.584" v="12023"/>
          <ac:picMkLst>
            <pc:docMk/>
            <pc:sldMk cId="1419402340" sldId="2147374033"/>
            <ac:picMk id="9" creationId="{AC55FE1F-3CDB-4504-B799-95DBB92A0A62}"/>
          </ac:picMkLst>
        </pc:picChg>
        <pc:picChg chg="add del mod">
          <ac:chgData name="Richerzhagen, Bjoern (T CED WLN-DE)" userId="1be7a072-4164-461c-b9ed-ae3c5d97c1a8" providerId="ADAL" clId="{A27AFCC7-D8F6-44BC-A001-AAF1884E580A}" dt="2022-03-02T09:49:05.584" v="12023"/>
          <ac:picMkLst>
            <pc:docMk/>
            <pc:sldMk cId="1419402340" sldId="2147374033"/>
            <ac:picMk id="10" creationId="{B2043F74-12E6-4745-9DDB-8DDC86150FE9}"/>
          </ac:picMkLst>
        </pc:picChg>
        <pc:picChg chg="add del mod">
          <ac:chgData name="Richerzhagen, Bjoern (T CED WLN-DE)" userId="1be7a072-4164-461c-b9ed-ae3c5d97c1a8" providerId="ADAL" clId="{A27AFCC7-D8F6-44BC-A001-AAF1884E580A}" dt="2022-03-02T09:49:05.584" v="12023"/>
          <ac:picMkLst>
            <pc:docMk/>
            <pc:sldMk cId="1419402340" sldId="2147374033"/>
            <ac:picMk id="14" creationId="{C2426C8C-CC1A-4CCC-AFF1-F1B4261A8469}"/>
          </ac:picMkLst>
        </pc:picChg>
        <pc:picChg chg="add del mod">
          <ac:chgData name="Richerzhagen, Bjoern (T CED WLN-DE)" userId="1be7a072-4164-461c-b9ed-ae3c5d97c1a8" providerId="ADAL" clId="{A27AFCC7-D8F6-44BC-A001-AAF1884E580A}" dt="2022-03-02T09:49:05.584" v="12023"/>
          <ac:picMkLst>
            <pc:docMk/>
            <pc:sldMk cId="1419402340" sldId="2147374033"/>
            <ac:picMk id="15" creationId="{78709D50-2A9A-48B5-A451-B3A57B064310}"/>
          </ac:picMkLst>
        </pc:picChg>
        <pc:picChg chg="add del mod">
          <ac:chgData name="Richerzhagen, Bjoern (T CED WLN-DE)" userId="1be7a072-4164-461c-b9ed-ae3c5d97c1a8" providerId="ADAL" clId="{A27AFCC7-D8F6-44BC-A001-AAF1884E580A}" dt="2022-03-02T09:49:05.584" v="12023"/>
          <ac:picMkLst>
            <pc:docMk/>
            <pc:sldMk cId="1419402340" sldId="2147374033"/>
            <ac:picMk id="19" creationId="{759F6F65-EC54-495E-8017-9F7B486C8010}"/>
          </ac:picMkLst>
        </pc:picChg>
        <pc:picChg chg="add del mod">
          <ac:chgData name="Richerzhagen, Bjoern (T CED WLN-DE)" userId="1be7a072-4164-461c-b9ed-ae3c5d97c1a8" providerId="ADAL" clId="{A27AFCC7-D8F6-44BC-A001-AAF1884E580A}" dt="2022-03-02T09:49:05.584" v="12023"/>
          <ac:picMkLst>
            <pc:docMk/>
            <pc:sldMk cId="1419402340" sldId="2147374033"/>
            <ac:picMk id="20" creationId="{9A4A6BC7-258F-4C97-9A4F-A663DE41E8AE}"/>
          </ac:picMkLst>
        </pc:picChg>
        <pc:picChg chg="add del mod">
          <ac:chgData name="Richerzhagen, Bjoern (T CED WLN-DE)" userId="1be7a072-4164-461c-b9ed-ae3c5d97c1a8" providerId="ADAL" clId="{A27AFCC7-D8F6-44BC-A001-AAF1884E580A}" dt="2022-03-02T09:49:05.584" v="12023"/>
          <ac:picMkLst>
            <pc:docMk/>
            <pc:sldMk cId="1419402340" sldId="2147374033"/>
            <ac:picMk id="27" creationId="{745633B8-5049-488F-B375-CD1CE805AD5E}"/>
          </ac:picMkLst>
        </pc:picChg>
        <pc:picChg chg="add del mod">
          <ac:chgData name="Richerzhagen, Bjoern (T CED WLN-DE)" userId="1be7a072-4164-461c-b9ed-ae3c5d97c1a8" providerId="ADAL" clId="{A27AFCC7-D8F6-44BC-A001-AAF1884E580A}" dt="2022-03-02T09:49:30.083" v="12028" actId="478"/>
          <ac:picMkLst>
            <pc:docMk/>
            <pc:sldMk cId="1419402340" sldId="2147374033"/>
            <ac:picMk id="42" creationId="{54E7307B-184D-400B-B6BF-5779D0F1240B}"/>
          </ac:picMkLst>
        </pc:picChg>
        <pc:picChg chg="add del mod">
          <ac:chgData name="Richerzhagen, Bjoern (T CED WLN-DE)" userId="1be7a072-4164-461c-b9ed-ae3c5d97c1a8" providerId="ADAL" clId="{A27AFCC7-D8F6-44BC-A001-AAF1884E580A}" dt="2022-03-02T09:49:30.083" v="12028" actId="478"/>
          <ac:picMkLst>
            <pc:docMk/>
            <pc:sldMk cId="1419402340" sldId="2147374033"/>
            <ac:picMk id="46" creationId="{2156F24B-1969-439B-910E-2D32D5581743}"/>
          </ac:picMkLst>
        </pc:picChg>
        <pc:picChg chg="add del mod">
          <ac:chgData name="Richerzhagen, Bjoern (T CED WLN-DE)" userId="1be7a072-4164-461c-b9ed-ae3c5d97c1a8" providerId="ADAL" clId="{A27AFCC7-D8F6-44BC-A001-AAF1884E580A}" dt="2022-03-02T09:49:30.083" v="12028" actId="478"/>
          <ac:picMkLst>
            <pc:docMk/>
            <pc:sldMk cId="1419402340" sldId="2147374033"/>
            <ac:picMk id="47" creationId="{107D8031-0BAF-4076-8BEC-520C94171DC4}"/>
          </ac:picMkLst>
        </pc:picChg>
        <pc:picChg chg="add del mod">
          <ac:chgData name="Richerzhagen, Bjoern (T CED WLN-DE)" userId="1be7a072-4164-461c-b9ed-ae3c5d97c1a8" providerId="ADAL" clId="{A27AFCC7-D8F6-44BC-A001-AAF1884E580A}" dt="2022-03-02T09:49:30.083" v="12028" actId="478"/>
          <ac:picMkLst>
            <pc:docMk/>
            <pc:sldMk cId="1419402340" sldId="2147374033"/>
            <ac:picMk id="51" creationId="{11855B02-4741-41BB-AE5E-C98F1B4DF46A}"/>
          </ac:picMkLst>
        </pc:picChg>
        <pc:picChg chg="add del mod">
          <ac:chgData name="Richerzhagen, Bjoern (T CED WLN-DE)" userId="1be7a072-4164-461c-b9ed-ae3c5d97c1a8" providerId="ADAL" clId="{A27AFCC7-D8F6-44BC-A001-AAF1884E580A}" dt="2022-03-02T09:49:30.083" v="12028" actId="478"/>
          <ac:picMkLst>
            <pc:docMk/>
            <pc:sldMk cId="1419402340" sldId="2147374033"/>
            <ac:picMk id="52" creationId="{C1921621-4A2D-4C6B-B20A-122D125C7041}"/>
          </ac:picMkLst>
        </pc:picChg>
        <pc:picChg chg="add del mod">
          <ac:chgData name="Richerzhagen, Bjoern (T CED WLN-DE)" userId="1be7a072-4164-461c-b9ed-ae3c5d97c1a8" providerId="ADAL" clId="{A27AFCC7-D8F6-44BC-A001-AAF1884E580A}" dt="2022-03-02T09:49:30.083" v="12028" actId="478"/>
          <ac:picMkLst>
            <pc:docMk/>
            <pc:sldMk cId="1419402340" sldId="2147374033"/>
            <ac:picMk id="56" creationId="{8BAAC69D-7DCD-4E85-9B04-54481A7E880F}"/>
          </ac:picMkLst>
        </pc:picChg>
        <pc:picChg chg="add del mod">
          <ac:chgData name="Richerzhagen, Bjoern (T CED WLN-DE)" userId="1be7a072-4164-461c-b9ed-ae3c5d97c1a8" providerId="ADAL" clId="{A27AFCC7-D8F6-44BC-A001-AAF1884E580A}" dt="2022-03-02T09:49:30.083" v="12028" actId="478"/>
          <ac:picMkLst>
            <pc:docMk/>
            <pc:sldMk cId="1419402340" sldId="2147374033"/>
            <ac:picMk id="57" creationId="{E9BA6C30-D3F4-4DA4-B71C-7E074337B42A}"/>
          </ac:picMkLst>
        </pc:picChg>
        <pc:picChg chg="add del mod">
          <ac:chgData name="Richerzhagen, Bjoern (T CED WLN-DE)" userId="1be7a072-4164-461c-b9ed-ae3c5d97c1a8" providerId="ADAL" clId="{A27AFCC7-D8F6-44BC-A001-AAF1884E580A}" dt="2022-03-02T09:49:30.083" v="12028" actId="478"/>
          <ac:picMkLst>
            <pc:docMk/>
            <pc:sldMk cId="1419402340" sldId="2147374033"/>
            <ac:picMk id="64" creationId="{B576068A-379D-4A84-A2F7-760D541F6210}"/>
          </ac:picMkLst>
        </pc:picChg>
        <pc:picChg chg="add mod">
          <ac:chgData name="Richerzhagen, Bjoern (T CED WLN-DE)" userId="1be7a072-4164-461c-b9ed-ae3c5d97c1a8" providerId="ADAL" clId="{A27AFCC7-D8F6-44BC-A001-AAF1884E580A}" dt="2022-03-02T09:51:06.933" v="12036" actId="207"/>
          <ac:picMkLst>
            <pc:docMk/>
            <pc:sldMk cId="1419402340" sldId="2147374033"/>
            <ac:picMk id="81" creationId="{6DE17710-BF27-420D-86B1-3A6C00DE95BA}"/>
          </ac:picMkLst>
        </pc:picChg>
        <pc:picChg chg="add mod">
          <ac:chgData name="Richerzhagen, Bjoern (T CED WLN-DE)" userId="1be7a072-4164-461c-b9ed-ae3c5d97c1a8" providerId="ADAL" clId="{A27AFCC7-D8F6-44BC-A001-AAF1884E580A}" dt="2022-03-02T09:50:10.063" v="12030"/>
          <ac:picMkLst>
            <pc:docMk/>
            <pc:sldMk cId="1419402340" sldId="2147374033"/>
            <ac:picMk id="82" creationId="{FFA5218B-2EBB-4FEA-A290-BA7325DCBE10}"/>
          </ac:picMkLst>
        </pc:picChg>
        <pc:picChg chg="add mod">
          <ac:chgData name="Richerzhagen, Bjoern (T CED WLN-DE)" userId="1be7a072-4164-461c-b9ed-ae3c5d97c1a8" providerId="ADAL" clId="{A27AFCC7-D8F6-44BC-A001-AAF1884E580A}" dt="2022-03-02T09:51:06.933" v="12036" actId="207"/>
          <ac:picMkLst>
            <pc:docMk/>
            <pc:sldMk cId="1419402340" sldId="2147374033"/>
            <ac:picMk id="86" creationId="{4974A3EF-D2A0-470D-A3E5-8AAD2B92C90E}"/>
          </ac:picMkLst>
        </pc:picChg>
        <pc:picChg chg="add mod">
          <ac:chgData name="Richerzhagen, Bjoern (T CED WLN-DE)" userId="1be7a072-4164-461c-b9ed-ae3c5d97c1a8" providerId="ADAL" clId="{A27AFCC7-D8F6-44BC-A001-AAF1884E580A}" dt="2022-03-02T09:50:10.063" v="12030"/>
          <ac:picMkLst>
            <pc:docMk/>
            <pc:sldMk cId="1419402340" sldId="2147374033"/>
            <ac:picMk id="87" creationId="{BE93D468-E4E4-4847-B509-07BC991DC891}"/>
          </ac:picMkLst>
        </pc:picChg>
        <pc:picChg chg="add mod">
          <ac:chgData name="Richerzhagen, Bjoern (T CED WLN-DE)" userId="1be7a072-4164-461c-b9ed-ae3c5d97c1a8" providerId="ADAL" clId="{A27AFCC7-D8F6-44BC-A001-AAF1884E580A}" dt="2022-03-02T09:51:06.933" v="12036" actId="207"/>
          <ac:picMkLst>
            <pc:docMk/>
            <pc:sldMk cId="1419402340" sldId="2147374033"/>
            <ac:picMk id="91" creationId="{58C10C63-B4ED-4073-A14A-80923C18BB58}"/>
          </ac:picMkLst>
        </pc:picChg>
        <pc:picChg chg="add mod">
          <ac:chgData name="Richerzhagen, Bjoern (T CED WLN-DE)" userId="1be7a072-4164-461c-b9ed-ae3c5d97c1a8" providerId="ADAL" clId="{A27AFCC7-D8F6-44BC-A001-AAF1884E580A}" dt="2022-03-02T09:50:10.063" v="12030"/>
          <ac:picMkLst>
            <pc:docMk/>
            <pc:sldMk cId="1419402340" sldId="2147374033"/>
            <ac:picMk id="92" creationId="{2DFDFD2E-218B-4D56-AAC6-34823E622E17}"/>
          </ac:picMkLst>
        </pc:picChg>
        <pc:picChg chg="add del mod">
          <ac:chgData name="Richerzhagen, Bjoern (T CED WLN-DE)" userId="1be7a072-4164-461c-b9ed-ae3c5d97c1a8" providerId="ADAL" clId="{A27AFCC7-D8F6-44BC-A001-AAF1884E580A}" dt="2022-03-02T09:59:55.087" v="12369" actId="478"/>
          <ac:picMkLst>
            <pc:docMk/>
            <pc:sldMk cId="1419402340" sldId="2147374033"/>
            <ac:picMk id="104" creationId="{952021A3-46D6-4A50-897F-237F5D4B4AB1}"/>
          </ac:picMkLst>
        </pc:picChg>
        <pc:cxnChg chg="add del mod">
          <ac:chgData name="Richerzhagen, Bjoern (T CED WLN-DE)" userId="1be7a072-4164-461c-b9ed-ae3c5d97c1a8" providerId="ADAL" clId="{A27AFCC7-D8F6-44BC-A001-AAF1884E580A}" dt="2022-03-02T09:49:05.584" v="12023"/>
          <ac:cxnSpMkLst>
            <pc:docMk/>
            <pc:sldMk cId="1419402340" sldId="2147374033"/>
            <ac:cxnSpMk id="11" creationId="{785493C0-7073-4F4C-BEC6-C77DF71E7241}"/>
          </ac:cxnSpMkLst>
        </pc:cxnChg>
        <pc:cxnChg chg="add del mod">
          <ac:chgData name="Richerzhagen, Bjoern (T CED WLN-DE)" userId="1be7a072-4164-461c-b9ed-ae3c5d97c1a8" providerId="ADAL" clId="{A27AFCC7-D8F6-44BC-A001-AAF1884E580A}" dt="2022-03-02T09:49:05.584" v="12023"/>
          <ac:cxnSpMkLst>
            <pc:docMk/>
            <pc:sldMk cId="1419402340" sldId="2147374033"/>
            <ac:cxnSpMk id="16" creationId="{4190277D-E2D3-4571-A7C8-3E51904CFC54}"/>
          </ac:cxnSpMkLst>
        </pc:cxnChg>
        <pc:cxnChg chg="add del mod">
          <ac:chgData name="Richerzhagen, Bjoern (T CED WLN-DE)" userId="1be7a072-4164-461c-b9ed-ae3c5d97c1a8" providerId="ADAL" clId="{A27AFCC7-D8F6-44BC-A001-AAF1884E580A}" dt="2022-03-02T09:49:05.584" v="12023"/>
          <ac:cxnSpMkLst>
            <pc:docMk/>
            <pc:sldMk cId="1419402340" sldId="2147374033"/>
            <ac:cxnSpMk id="21" creationId="{3EDB434C-8183-4646-A1CD-F4B82E5D5356}"/>
          </ac:cxnSpMkLst>
        </pc:cxnChg>
        <pc:cxnChg chg="add del mod">
          <ac:chgData name="Richerzhagen, Bjoern (T CED WLN-DE)" userId="1be7a072-4164-461c-b9ed-ae3c5d97c1a8" providerId="ADAL" clId="{A27AFCC7-D8F6-44BC-A001-AAF1884E580A}" dt="2022-03-02T09:49:05.584" v="12023"/>
          <ac:cxnSpMkLst>
            <pc:docMk/>
            <pc:sldMk cId="1419402340" sldId="2147374033"/>
            <ac:cxnSpMk id="22" creationId="{C83450A9-8375-4141-A2CE-7810CA57885E}"/>
          </ac:cxnSpMkLst>
        </pc:cxnChg>
        <pc:cxnChg chg="add del mod">
          <ac:chgData name="Richerzhagen, Bjoern (T CED WLN-DE)" userId="1be7a072-4164-461c-b9ed-ae3c5d97c1a8" providerId="ADAL" clId="{A27AFCC7-D8F6-44BC-A001-AAF1884E580A}" dt="2022-03-02T09:49:05.584" v="12023"/>
          <ac:cxnSpMkLst>
            <pc:docMk/>
            <pc:sldMk cId="1419402340" sldId="2147374033"/>
            <ac:cxnSpMk id="23" creationId="{7F891A34-9EBA-4358-94DE-D02A1E21959B}"/>
          </ac:cxnSpMkLst>
        </pc:cxnChg>
        <pc:cxnChg chg="add del mod">
          <ac:chgData name="Richerzhagen, Bjoern (T CED WLN-DE)" userId="1be7a072-4164-461c-b9ed-ae3c5d97c1a8" providerId="ADAL" clId="{A27AFCC7-D8F6-44BC-A001-AAF1884E580A}" dt="2022-03-02T09:49:05.584" v="12023"/>
          <ac:cxnSpMkLst>
            <pc:docMk/>
            <pc:sldMk cId="1419402340" sldId="2147374033"/>
            <ac:cxnSpMk id="24" creationId="{7EE840A5-06FD-4FE1-8FAD-FD05A6E1A627}"/>
          </ac:cxnSpMkLst>
        </pc:cxnChg>
        <pc:cxnChg chg="add del mod">
          <ac:chgData name="Richerzhagen, Bjoern (T CED WLN-DE)" userId="1be7a072-4164-461c-b9ed-ae3c5d97c1a8" providerId="ADAL" clId="{A27AFCC7-D8F6-44BC-A001-AAF1884E580A}" dt="2022-03-02T09:49:05.584" v="12023"/>
          <ac:cxnSpMkLst>
            <pc:docMk/>
            <pc:sldMk cId="1419402340" sldId="2147374033"/>
            <ac:cxnSpMk id="25" creationId="{B3F8517E-F712-4769-9EB2-6E97D3FB9CFB}"/>
          </ac:cxnSpMkLst>
        </pc:cxnChg>
        <pc:cxnChg chg="add del mod">
          <ac:chgData name="Richerzhagen, Bjoern (T CED WLN-DE)" userId="1be7a072-4164-461c-b9ed-ae3c5d97c1a8" providerId="ADAL" clId="{A27AFCC7-D8F6-44BC-A001-AAF1884E580A}" dt="2022-03-02T09:49:05.584" v="12023"/>
          <ac:cxnSpMkLst>
            <pc:docMk/>
            <pc:sldMk cId="1419402340" sldId="2147374033"/>
            <ac:cxnSpMk id="30" creationId="{4381543A-CA12-444D-B448-C483B043A4C9}"/>
          </ac:cxnSpMkLst>
        </pc:cxnChg>
        <pc:cxnChg chg="add del mod">
          <ac:chgData name="Richerzhagen, Bjoern (T CED WLN-DE)" userId="1be7a072-4164-461c-b9ed-ae3c5d97c1a8" providerId="ADAL" clId="{A27AFCC7-D8F6-44BC-A001-AAF1884E580A}" dt="2022-03-02T09:49:05.584" v="12023"/>
          <ac:cxnSpMkLst>
            <pc:docMk/>
            <pc:sldMk cId="1419402340" sldId="2147374033"/>
            <ac:cxnSpMk id="31" creationId="{EFA89B56-33BD-416A-B703-2567372B3C2E}"/>
          </ac:cxnSpMkLst>
        </pc:cxnChg>
        <pc:cxnChg chg="add del mod">
          <ac:chgData name="Richerzhagen, Bjoern (T CED WLN-DE)" userId="1be7a072-4164-461c-b9ed-ae3c5d97c1a8" providerId="ADAL" clId="{A27AFCC7-D8F6-44BC-A001-AAF1884E580A}" dt="2022-03-02T09:49:05.584" v="12023"/>
          <ac:cxnSpMkLst>
            <pc:docMk/>
            <pc:sldMk cId="1419402340" sldId="2147374033"/>
            <ac:cxnSpMk id="33" creationId="{DA90359B-F5FE-4E35-B2EA-B0CF2C15288C}"/>
          </ac:cxnSpMkLst>
        </pc:cxnChg>
        <pc:cxnChg chg="add del mod">
          <ac:chgData name="Richerzhagen, Bjoern (T CED WLN-DE)" userId="1be7a072-4164-461c-b9ed-ae3c5d97c1a8" providerId="ADAL" clId="{A27AFCC7-D8F6-44BC-A001-AAF1884E580A}" dt="2022-03-02T09:49:05.584" v="12023"/>
          <ac:cxnSpMkLst>
            <pc:docMk/>
            <pc:sldMk cId="1419402340" sldId="2147374033"/>
            <ac:cxnSpMk id="35" creationId="{6647459E-45C2-4632-8AAB-9E6705B25A4D}"/>
          </ac:cxnSpMkLst>
        </pc:cxnChg>
        <pc:cxnChg chg="add del mod">
          <ac:chgData name="Richerzhagen, Bjoern (T CED WLN-DE)" userId="1be7a072-4164-461c-b9ed-ae3c5d97c1a8" providerId="ADAL" clId="{A27AFCC7-D8F6-44BC-A001-AAF1884E580A}" dt="2022-03-02T09:49:05.584" v="12023"/>
          <ac:cxnSpMkLst>
            <pc:docMk/>
            <pc:sldMk cId="1419402340" sldId="2147374033"/>
            <ac:cxnSpMk id="37" creationId="{87AF1364-D23F-485F-8249-F2AEBFC1AE24}"/>
          </ac:cxnSpMkLst>
        </pc:cxnChg>
        <pc:cxnChg chg="add del mod">
          <ac:chgData name="Richerzhagen, Bjoern (T CED WLN-DE)" userId="1be7a072-4164-461c-b9ed-ae3c5d97c1a8" providerId="ADAL" clId="{A27AFCC7-D8F6-44BC-A001-AAF1884E580A}" dt="2022-03-02T09:49:05.584" v="12023"/>
          <ac:cxnSpMkLst>
            <pc:docMk/>
            <pc:sldMk cId="1419402340" sldId="2147374033"/>
            <ac:cxnSpMk id="39" creationId="{1EECBDD4-23EE-4B9A-AC41-FA284AFB9964}"/>
          </ac:cxnSpMkLst>
        </pc:cxnChg>
        <pc:cxnChg chg="add del mod">
          <ac:chgData name="Richerzhagen, Bjoern (T CED WLN-DE)" userId="1be7a072-4164-461c-b9ed-ae3c5d97c1a8" providerId="ADAL" clId="{A27AFCC7-D8F6-44BC-A001-AAF1884E580A}" dt="2022-03-02T09:49:30.083" v="12028" actId="478"/>
          <ac:cxnSpMkLst>
            <pc:docMk/>
            <pc:sldMk cId="1419402340" sldId="2147374033"/>
            <ac:cxnSpMk id="48" creationId="{0C1C7CFC-BAED-47FD-8977-94E433DE6B3D}"/>
          </ac:cxnSpMkLst>
        </pc:cxnChg>
        <pc:cxnChg chg="add del mod">
          <ac:chgData name="Richerzhagen, Bjoern (T CED WLN-DE)" userId="1be7a072-4164-461c-b9ed-ae3c5d97c1a8" providerId="ADAL" clId="{A27AFCC7-D8F6-44BC-A001-AAF1884E580A}" dt="2022-03-02T09:49:30.083" v="12028" actId="478"/>
          <ac:cxnSpMkLst>
            <pc:docMk/>
            <pc:sldMk cId="1419402340" sldId="2147374033"/>
            <ac:cxnSpMk id="53" creationId="{23D92928-D8E3-4846-9009-833A755DF7E5}"/>
          </ac:cxnSpMkLst>
        </pc:cxnChg>
        <pc:cxnChg chg="add del mod">
          <ac:chgData name="Richerzhagen, Bjoern (T CED WLN-DE)" userId="1be7a072-4164-461c-b9ed-ae3c5d97c1a8" providerId="ADAL" clId="{A27AFCC7-D8F6-44BC-A001-AAF1884E580A}" dt="2022-03-02T09:49:30.083" v="12028" actId="478"/>
          <ac:cxnSpMkLst>
            <pc:docMk/>
            <pc:sldMk cId="1419402340" sldId="2147374033"/>
            <ac:cxnSpMk id="58" creationId="{C2D4DE80-DB6D-4F6C-BB33-672512A7B9C6}"/>
          </ac:cxnSpMkLst>
        </pc:cxnChg>
        <pc:cxnChg chg="add del mod">
          <ac:chgData name="Richerzhagen, Bjoern (T CED WLN-DE)" userId="1be7a072-4164-461c-b9ed-ae3c5d97c1a8" providerId="ADAL" clId="{A27AFCC7-D8F6-44BC-A001-AAF1884E580A}" dt="2022-03-02T09:49:30.083" v="12028" actId="478"/>
          <ac:cxnSpMkLst>
            <pc:docMk/>
            <pc:sldMk cId="1419402340" sldId="2147374033"/>
            <ac:cxnSpMk id="59" creationId="{FC4CB85F-5D0F-4A7B-8804-BF727F7C2485}"/>
          </ac:cxnSpMkLst>
        </pc:cxnChg>
        <pc:cxnChg chg="add del mod">
          <ac:chgData name="Richerzhagen, Bjoern (T CED WLN-DE)" userId="1be7a072-4164-461c-b9ed-ae3c5d97c1a8" providerId="ADAL" clId="{A27AFCC7-D8F6-44BC-A001-AAF1884E580A}" dt="2022-03-02T09:49:30.083" v="12028" actId="478"/>
          <ac:cxnSpMkLst>
            <pc:docMk/>
            <pc:sldMk cId="1419402340" sldId="2147374033"/>
            <ac:cxnSpMk id="60" creationId="{D0E1948D-674E-434D-8DB2-8DAE0F015F2F}"/>
          </ac:cxnSpMkLst>
        </pc:cxnChg>
        <pc:cxnChg chg="add del mod">
          <ac:chgData name="Richerzhagen, Bjoern (T CED WLN-DE)" userId="1be7a072-4164-461c-b9ed-ae3c5d97c1a8" providerId="ADAL" clId="{A27AFCC7-D8F6-44BC-A001-AAF1884E580A}" dt="2022-03-02T09:49:30.083" v="12028" actId="478"/>
          <ac:cxnSpMkLst>
            <pc:docMk/>
            <pc:sldMk cId="1419402340" sldId="2147374033"/>
            <ac:cxnSpMk id="61" creationId="{E517A2CB-B2AC-4DAA-BE43-5CE204D4AC71}"/>
          </ac:cxnSpMkLst>
        </pc:cxnChg>
        <pc:cxnChg chg="add del mod">
          <ac:chgData name="Richerzhagen, Bjoern (T CED WLN-DE)" userId="1be7a072-4164-461c-b9ed-ae3c5d97c1a8" providerId="ADAL" clId="{A27AFCC7-D8F6-44BC-A001-AAF1884E580A}" dt="2022-03-02T09:49:30.083" v="12028" actId="478"/>
          <ac:cxnSpMkLst>
            <pc:docMk/>
            <pc:sldMk cId="1419402340" sldId="2147374033"/>
            <ac:cxnSpMk id="62" creationId="{1D7AA65D-B09F-4D37-98B6-842ED1D6FC37}"/>
          </ac:cxnSpMkLst>
        </pc:cxnChg>
        <pc:cxnChg chg="add del mod">
          <ac:chgData name="Richerzhagen, Bjoern (T CED WLN-DE)" userId="1be7a072-4164-461c-b9ed-ae3c5d97c1a8" providerId="ADAL" clId="{A27AFCC7-D8F6-44BC-A001-AAF1884E580A}" dt="2022-03-02T09:49:30.083" v="12028" actId="478"/>
          <ac:cxnSpMkLst>
            <pc:docMk/>
            <pc:sldMk cId="1419402340" sldId="2147374033"/>
            <ac:cxnSpMk id="67" creationId="{58475FF8-F091-4C75-B263-8F59743C5817}"/>
          </ac:cxnSpMkLst>
        </pc:cxnChg>
        <pc:cxnChg chg="add del mod">
          <ac:chgData name="Richerzhagen, Bjoern (T CED WLN-DE)" userId="1be7a072-4164-461c-b9ed-ae3c5d97c1a8" providerId="ADAL" clId="{A27AFCC7-D8F6-44BC-A001-AAF1884E580A}" dt="2022-03-02T09:49:30.083" v="12028" actId="478"/>
          <ac:cxnSpMkLst>
            <pc:docMk/>
            <pc:sldMk cId="1419402340" sldId="2147374033"/>
            <ac:cxnSpMk id="68" creationId="{BD367EC1-ED23-4507-BD06-1F96B98B7386}"/>
          </ac:cxnSpMkLst>
        </pc:cxnChg>
        <pc:cxnChg chg="add del mod">
          <ac:chgData name="Richerzhagen, Bjoern (T CED WLN-DE)" userId="1be7a072-4164-461c-b9ed-ae3c5d97c1a8" providerId="ADAL" clId="{A27AFCC7-D8F6-44BC-A001-AAF1884E580A}" dt="2022-03-02T09:49:30.083" v="12028" actId="478"/>
          <ac:cxnSpMkLst>
            <pc:docMk/>
            <pc:sldMk cId="1419402340" sldId="2147374033"/>
            <ac:cxnSpMk id="70" creationId="{EF16E7B8-8173-42F4-B67C-100A81348B8C}"/>
          </ac:cxnSpMkLst>
        </pc:cxnChg>
        <pc:cxnChg chg="add del mod">
          <ac:chgData name="Richerzhagen, Bjoern (T CED WLN-DE)" userId="1be7a072-4164-461c-b9ed-ae3c5d97c1a8" providerId="ADAL" clId="{A27AFCC7-D8F6-44BC-A001-AAF1884E580A}" dt="2022-03-02T09:49:30.083" v="12028" actId="478"/>
          <ac:cxnSpMkLst>
            <pc:docMk/>
            <pc:sldMk cId="1419402340" sldId="2147374033"/>
            <ac:cxnSpMk id="72" creationId="{858D32DA-96FB-45A8-8611-2A8F4CF41597}"/>
          </ac:cxnSpMkLst>
        </pc:cxnChg>
        <pc:cxnChg chg="add del mod">
          <ac:chgData name="Richerzhagen, Bjoern (T CED WLN-DE)" userId="1be7a072-4164-461c-b9ed-ae3c5d97c1a8" providerId="ADAL" clId="{A27AFCC7-D8F6-44BC-A001-AAF1884E580A}" dt="2022-03-02T09:49:30.083" v="12028" actId="478"/>
          <ac:cxnSpMkLst>
            <pc:docMk/>
            <pc:sldMk cId="1419402340" sldId="2147374033"/>
            <ac:cxnSpMk id="74" creationId="{354C6927-6EE2-4489-9842-AEC8C08EB85A}"/>
          </ac:cxnSpMkLst>
        </pc:cxnChg>
        <pc:cxnChg chg="add del mod">
          <ac:chgData name="Richerzhagen, Bjoern (T CED WLN-DE)" userId="1be7a072-4164-461c-b9ed-ae3c5d97c1a8" providerId="ADAL" clId="{A27AFCC7-D8F6-44BC-A001-AAF1884E580A}" dt="2022-03-02T09:49:30.083" v="12028" actId="478"/>
          <ac:cxnSpMkLst>
            <pc:docMk/>
            <pc:sldMk cId="1419402340" sldId="2147374033"/>
            <ac:cxnSpMk id="76" creationId="{0A2216BE-8401-4DE6-A2C3-7A39C529A265}"/>
          </ac:cxnSpMkLst>
        </pc:cxnChg>
        <pc:cxnChg chg="add mod">
          <ac:chgData name="Richerzhagen, Bjoern (T CED WLN-DE)" userId="1be7a072-4164-461c-b9ed-ae3c5d97c1a8" providerId="ADAL" clId="{A27AFCC7-D8F6-44BC-A001-AAF1884E580A}" dt="2022-03-02T09:51:14.295" v="12037" actId="208"/>
          <ac:cxnSpMkLst>
            <pc:docMk/>
            <pc:sldMk cId="1419402340" sldId="2147374033"/>
            <ac:cxnSpMk id="83" creationId="{FAB51012-62D9-4CEF-A849-FC2E4B54FA7B}"/>
          </ac:cxnSpMkLst>
        </pc:cxnChg>
        <pc:cxnChg chg="add mod">
          <ac:chgData name="Richerzhagen, Bjoern (T CED WLN-DE)" userId="1be7a072-4164-461c-b9ed-ae3c5d97c1a8" providerId="ADAL" clId="{A27AFCC7-D8F6-44BC-A001-AAF1884E580A}" dt="2022-03-02T09:51:14.295" v="12037" actId="208"/>
          <ac:cxnSpMkLst>
            <pc:docMk/>
            <pc:sldMk cId="1419402340" sldId="2147374033"/>
            <ac:cxnSpMk id="88" creationId="{ABC5C5B4-AB5C-4F6B-B34F-7E3FA7276019}"/>
          </ac:cxnSpMkLst>
        </pc:cxnChg>
        <pc:cxnChg chg="add mod">
          <ac:chgData name="Richerzhagen, Bjoern (T CED WLN-DE)" userId="1be7a072-4164-461c-b9ed-ae3c5d97c1a8" providerId="ADAL" clId="{A27AFCC7-D8F6-44BC-A001-AAF1884E580A}" dt="2022-03-02T09:51:14.295" v="12037" actId="208"/>
          <ac:cxnSpMkLst>
            <pc:docMk/>
            <pc:sldMk cId="1419402340" sldId="2147374033"/>
            <ac:cxnSpMk id="93" creationId="{CDFECD27-DDF3-4FF9-A6EB-D01B68BFD8E6}"/>
          </ac:cxnSpMkLst>
        </pc:cxnChg>
        <pc:cxnChg chg="add del">
          <ac:chgData name="Richerzhagen, Bjoern (T CED WLN-DE)" userId="1be7a072-4164-461c-b9ed-ae3c5d97c1a8" providerId="ADAL" clId="{A27AFCC7-D8F6-44BC-A001-AAF1884E580A}" dt="2022-03-02T09:57:31.557" v="12332" actId="478"/>
          <ac:cxnSpMkLst>
            <pc:docMk/>
            <pc:sldMk cId="1419402340" sldId="2147374033"/>
            <ac:cxnSpMk id="99" creationId="{56B9C2F9-49E0-4A22-A762-C5F042186094}"/>
          </ac:cxnSpMkLst>
        </pc:cxnChg>
        <pc:cxnChg chg="add mod">
          <ac:chgData name="Richerzhagen, Bjoern (T CED WLN-DE)" userId="1be7a072-4164-461c-b9ed-ae3c5d97c1a8" providerId="ADAL" clId="{A27AFCC7-D8F6-44BC-A001-AAF1884E580A}" dt="2022-03-02T12:53:07.315" v="12643" actId="1076"/>
          <ac:cxnSpMkLst>
            <pc:docMk/>
            <pc:sldMk cId="1419402340" sldId="2147374033"/>
            <ac:cxnSpMk id="106" creationId="{24B5E7B4-679E-4140-9B81-67C7755496FD}"/>
          </ac:cxnSpMkLst>
        </pc:cxnChg>
        <pc:cxnChg chg="add mod">
          <ac:chgData name="Richerzhagen, Bjoern (T CED WLN-DE)" userId="1be7a072-4164-461c-b9ed-ae3c5d97c1a8" providerId="ADAL" clId="{A27AFCC7-D8F6-44BC-A001-AAF1884E580A}" dt="2022-03-02T12:53:14.196" v="12647" actId="14100"/>
          <ac:cxnSpMkLst>
            <pc:docMk/>
            <pc:sldMk cId="1419402340" sldId="2147374033"/>
            <ac:cxnSpMk id="108" creationId="{92C81441-7DDF-4889-BC03-4A3F70A0CF04}"/>
          </ac:cxnSpMkLst>
        </pc:cxnChg>
        <pc:cxnChg chg="add mod">
          <ac:chgData name="Richerzhagen, Bjoern (T CED WLN-DE)" userId="1be7a072-4164-461c-b9ed-ae3c5d97c1a8" providerId="ADAL" clId="{A27AFCC7-D8F6-44BC-A001-AAF1884E580A}" dt="2022-03-02T12:55:07.889" v="12682" actId="14100"/>
          <ac:cxnSpMkLst>
            <pc:docMk/>
            <pc:sldMk cId="1419402340" sldId="2147374033"/>
            <ac:cxnSpMk id="115" creationId="{8A4A3157-72C1-4CE1-8943-9E57200F338B}"/>
          </ac:cxnSpMkLst>
        </pc:cxnChg>
        <pc:cxnChg chg="add mod">
          <ac:chgData name="Richerzhagen, Bjoern (T CED WLN-DE)" userId="1be7a072-4164-461c-b9ed-ae3c5d97c1a8" providerId="ADAL" clId="{A27AFCC7-D8F6-44BC-A001-AAF1884E580A}" dt="2022-03-02T12:55:37.227" v="12689" actId="1076"/>
          <ac:cxnSpMkLst>
            <pc:docMk/>
            <pc:sldMk cId="1419402340" sldId="2147374033"/>
            <ac:cxnSpMk id="118" creationId="{18296D89-12B0-40A3-A3AA-8770CE9007B4}"/>
          </ac:cxnSpMkLst>
        </pc:cxnChg>
      </pc:sldChg>
      <pc:sldChg chg="addSp modSp add mod ord modNotesTx">
        <pc:chgData name="Richerzhagen, Bjoern (T CED WLN-DE)" userId="1be7a072-4164-461c-b9ed-ae3c5d97c1a8" providerId="ADAL" clId="{A27AFCC7-D8F6-44BC-A001-AAF1884E580A}" dt="2022-03-08T09:59:28.675" v="32935" actId="20577"/>
        <pc:sldMkLst>
          <pc:docMk/>
          <pc:sldMk cId="728633151" sldId="2147374034"/>
        </pc:sldMkLst>
        <pc:spChg chg="mod">
          <ac:chgData name="Richerzhagen, Bjoern (T CED WLN-DE)" userId="1be7a072-4164-461c-b9ed-ae3c5d97c1a8" providerId="ADAL" clId="{A27AFCC7-D8F6-44BC-A001-AAF1884E580A}" dt="2022-03-02T14:13:33.675" v="15223" actId="14100"/>
          <ac:spMkLst>
            <pc:docMk/>
            <pc:sldMk cId="728633151" sldId="2147374034"/>
            <ac:spMk id="5" creationId="{30333122-4CB5-44EF-BDCB-FE8BCF4A1840}"/>
          </ac:spMkLst>
        </pc:spChg>
        <pc:spChg chg="add mod">
          <ac:chgData name="Richerzhagen, Bjoern (T CED WLN-DE)" userId="1be7a072-4164-461c-b9ed-ae3c5d97c1a8" providerId="ADAL" clId="{A27AFCC7-D8F6-44BC-A001-AAF1884E580A}" dt="2022-03-02T13:58:39.029" v="14394" actId="164"/>
          <ac:spMkLst>
            <pc:docMk/>
            <pc:sldMk cId="728633151" sldId="2147374034"/>
            <ac:spMk id="7" creationId="{2BE0D3AF-7170-444C-A849-EE4A2FA623D6}"/>
          </ac:spMkLst>
        </pc:spChg>
        <pc:spChg chg="mod">
          <ac:chgData name="Richerzhagen, Bjoern (T CED WLN-DE)" userId="1be7a072-4164-461c-b9ed-ae3c5d97c1a8" providerId="ADAL" clId="{A27AFCC7-D8F6-44BC-A001-AAF1884E580A}" dt="2022-03-08T08:05:44.851" v="17070" actId="20577"/>
          <ac:spMkLst>
            <pc:docMk/>
            <pc:sldMk cId="728633151" sldId="2147374034"/>
            <ac:spMk id="12" creationId="{E33226AB-29D7-46FF-A288-FCECC311B807}"/>
          </ac:spMkLst>
        </pc:spChg>
        <pc:spChg chg="mod modVis">
          <ac:chgData name="Richerzhagen, Bjoern (T CED WLN-DE)" userId="1be7a072-4164-461c-b9ed-ae3c5d97c1a8" providerId="ADAL" clId="{A27AFCC7-D8F6-44BC-A001-AAF1884E580A}" dt="2022-03-08T09:33:18.938" v="30362" actId="14430"/>
          <ac:spMkLst>
            <pc:docMk/>
            <pc:sldMk cId="728633151" sldId="2147374034"/>
            <ac:spMk id="29" creationId="{80C3C213-CF2B-40C2-949A-4CB1A6478ED8}"/>
          </ac:spMkLst>
        </pc:spChg>
        <pc:spChg chg="mod">
          <ac:chgData name="Richerzhagen, Bjoern (T CED WLN-DE)" userId="1be7a072-4164-461c-b9ed-ae3c5d97c1a8" providerId="ADAL" clId="{A27AFCC7-D8F6-44BC-A001-AAF1884E580A}" dt="2022-03-08T09:52:26.746" v="32283" actId="207"/>
          <ac:spMkLst>
            <pc:docMk/>
            <pc:sldMk cId="728633151" sldId="2147374034"/>
            <ac:spMk id="41" creationId="{2C6D11D7-8957-40C6-B94D-28BEE2FA94C7}"/>
          </ac:spMkLst>
        </pc:spChg>
        <pc:spChg chg="add mod">
          <ac:chgData name="Richerzhagen, Bjoern (T CED WLN-DE)" userId="1be7a072-4164-461c-b9ed-ae3c5d97c1a8" providerId="ADAL" clId="{A27AFCC7-D8F6-44BC-A001-AAF1884E580A}" dt="2022-03-02T13:58:39.029" v="14394" actId="164"/>
          <ac:spMkLst>
            <pc:docMk/>
            <pc:sldMk cId="728633151" sldId="2147374034"/>
            <ac:spMk id="44" creationId="{593A9DC4-4B78-4ABE-81BB-BACA0B5C60DE}"/>
          </ac:spMkLst>
        </pc:spChg>
        <pc:grpChg chg="add mod">
          <ac:chgData name="Richerzhagen, Bjoern (T CED WLN-DE)" userId="1be7a072-4164-461c-b9ed-ae3c5d97c1a8" providerId="ADAL" clId="{A27AFCC7-D8F6-44BC-A001-AAF1884E580A}" dt="2022-03-02T14:12:57.117" v="15204" actId="1076"/>
          <ac:grpSpMkLst>
            <pc:docMk/>
            <pc:sldMk cId="728633151" sldId="2147374034"/>
            <ac:grpSpMk id="10" creationId="{F352C06D-A508-4A4D-9D9E-6916D599C7E3}"/>
          </ac:grpSpMkLst>
        </pc:grpChg>
        <pc:picChg chg="add mod">
          <ac:chgData name="Richerzhagen, Bjoern (T CED WLN-DE)" userId="1be7a072-4164-461c-b9ed-ae3c5d97c1a8" providerId="ADAL" clId="{A27AFCC7-D8F6-44BC-A001-AAF1884E580A}" dt="2022-03-02T14:12:45.180" v="15200" actId="14100"/>
          <ac:picMkLst>
            <pc:docMk/>
            <pc:sldMk cId="728633151" sldId="2147374034"/>
            <ac:picMk id="43" creationId="{2663179A-987D-46B9-ACC9-1525B2A370AE}"/>
          </ac:picMkLst>
        </pc:picChg>
        <pc:picChg chg="add mod modCrop">
          <ac:chgData name="Richerzhagen, Bjoern (T CED WLN-DE)" userId="1be7a072-4164-461c-b9ed-ae3c5d97c1a8" providerId="ADAL" clId="{A27AFCC7-D8F6-44BC-A001-AAF1884E580A}" dt="2022-03-08T09:53:56.432" v="32288" actId="1076"/>
          <ac:picMkLst>
            <pc:docMk/>
            <pc:sldMk cId="728633151" sldId="2147374034"/>
            <ac:picMk id="45" creationId="{BE750DA0-A0C4-4F8E-BF97-403C926247C4}"/>
          </ac:picMkLst>
        </pc:picChg>
        <pc:cxnChg chg="mod">
          <ac:chgData name="Richerzhagen, Bjoern (T CED WLN-DE)" userId="1be7a072-4164-461c-b9ed-ae3c5d97c1a8" providerId="ADAL" clId="{A27AFCC7-D8F6-44BC-A001-AAF1884E580A}" dt="2022-03-02T14:13:19.366" v="15205" actId="1582"/>
          <ac:cxnSpMkLst>
            <pc:docMk/>
            <pc:sldMk cId="728633151" sldId="2147374034"/>
            <ac:cxnSpMk id="8" creationId="{FB023C42-773B-47AE-9048-238C596B4977}"/>
          </ac:cxnSpMkLst>
        </pc:cxnChg>
      </pc:sldChg>
      <pc:sldChg chg="addSp delSp modSp add mod ord modNotesTx">
        <pc:chgData name="Richerzhagen, Bjoern (T CED WLN-DE)" userId="1be7a072-4164-461c-b9ed-ae3c5d97c1a8" providerId="ADAL" clId="{A27AFCC7-D8F6-44BC-A001-AAF1884E580A}" dt="2022-03-08T08:09:31.391" v="17129" actId="478"/>
        <pc:sldMkLst>
          <pc:docMk/>
          <pc:sldMk cId="3992377790" sldId="2147374035"/>
        </pc:sldMkLst>
        <pc:spChg chg="del">
          <ac:chgData name="Richerzhagen, Bjoern (T CED WLN-DE)" userId="1be7a072-4164-461c-b9ed-ae3c5d97c1a8" providerId="ADAL" clId="{A27AFCC7-D8F6-44BC-A001-AAF1884E580A}" dt="2022-03-02T15:17:52.676" v="16337" actId="478"/>
          <ac:spMkLst>
            <pc:docMk/>
            <pc:sldMk cId="3992377790" sldId="2147374035"/>
            <ac:spMk id="25" creationId="{78FD0FFA-64BB-4160-B878-26B9A3B600E1}"/>
          </ac:spMkLst>
        </pc:spChg>
        <pc:spChg chg="mod">
          <ac:chgData name="Richerzhagen, Bjoern (T CED WLN-DE)" userId="1be7a072-4164-461c-b9ed-ae3c5d97c1a8" providerId="ADAL" clId="{A27AFCC7-D8F6-44BC-A001-AAF1884E580A}" dt="2022-03-08T08:06:55.112" v="17078"/>
          <ac:spMkLst>
            <pc:docMk/>
            <pc:sldMk cId="3992377790" sldId="2147374035"/>
            <ac:spMk id="26" creationId="{A0D958D6-F2AC-4730-A25B-F6C1F084EDB8}"/>
          </ac:spMkLst>
        </pc:spChg>
        <pc:spChg chg="mod">
          <ac:chgData name="Richerzhagen, Bjoern (T CED WLN-DE)" userId="1be7a072-4164-461c-b9ed-ae3c5d97c1a8" providerId="ADAL" clId="{A27AFCC7-D8F6-44BC-A001-AAF1884E580A}" dt="2022-03-08T08:06:55.112" v="17078"/>
          <ac:spMkLst>
            <pc:docMk/>
            <pc:sldMk cId="3992377790" sldId="2147374035"/>
            <ac:spMk id="27" creationId="{F07CF802-B06C-4C7E-859B-121C57254C57}"/>
          </ac:spMkLst>
        </pc:spChg>
        <pc:spChg chg="mod">
          <ac:chgData name="Richerzhagen, Bjoern (T CED WLN-DE)" userId="1be7a072-4164-461c-b9ed-ae3c5d97c1a8" providerId="ADAL" clId="{A27AFCC7-D8F6-44BC-A001-AAF1884E580A}" dt="2022-03-08T08:06:55.112" v="17078"/>
          <ac:spMkLst>
            <pc:docMk/>
            <pc:sldMk cId="3992377790" sldId="2147374035"/>
            <ac:spMk id="28" creationId="{63BD3211-1611-4304-B9DB-4D9A2369281B}"/>
          </ac:spMkLst>
        </pc:spChg>
        <pc:spChg chg="add del mod">
          <ac:chgData name="Richerzhagen, Bjoern (T CED WLN-DE)" userId="1be7a072-4164-461c-b9ed-ae3c5d97c1a8" providerId="ADAL" clId="{A27AFCC7-D8F6-44BC-A001-AAF1884E580A}" dt="2022-03-08T08:06:59.411" v="17080" actId="478"/>
          <ac:spMkLst>
            <pc:docMk/>
            <pc:sldMk cId="3992377790" sldId="2147374035"/>
            <ac:spMk id="29" creationId="{77FCA652-D1C6-4B9B-AB3A-CBE15B37E94A}"/>
          </ac:spMkLst>
        </pc:spChg>
        <pc:spChg chg="mod">
          <ac:chgData name="Richerzhagen, Bjoern (T CED WLN-DE)" userId="1be7a072-4164-461c-b9ed-ae3c5d97c1a8" providerId="ADAL" clId="{A27AFCC7-D8F6-44BC-A001-AAF1884E580A}" dt="2022-03-08T08:07:06.470" v="17081"/>
          <ac:spMkLst>
            <pc:docMk/>
            <pc:sldMk cId="3992377790" sldId="2147374035"/>
            <ac:spMk id="36" creationId="{CD4A423E-227F-4A7B-9772-B7A575B8D7FF}"/>
          </ac:spMkLst>
        </pc:spChg>
        <pc:spChg chg="mod">
          <ac:chgData name="Richerzhagen, Bjoern (T CED WLN-DE)" userId="1be7a072-4164-461c-b9ed-ae3c5d97c1a8" providerId="ADAL" clId="{A27AFCC7-D8F6-44BC-A001-AAF1884E580A}" dt="2022-03-08T08:07:06.470" v="17081"/>
          <ac:spMkLst>
            <pc:docMk/>
            <pc:sldMk cId="3992377790" sldId="2147374035"/>
            <ac:spMk id="37" creationId="{2752FD49-7D7F-4C32-8294-DB70AEA7C40A}"/>
          </ac:spMkLst>
        </pc:spChg>
        <pc:spChg chg="mod">
          <ac:chgData name="Richerzhagen, Bjoern (T CED WLN-DE)" userId="1be7a072-4164-461c-b9ed-ae3c5d97c1a8" providerId="ADAL" clId="{A27AFCC7-D8F6-44BC-A001-AAF1884E580A}" dt="2022-03-08T08:07:06.470" v="17081"/>
          <ac:spMkLst>
            <pc:docMk/>
            <pc:sldMk cId="3992377790" sldId="2147374035"/>
            <ac:spMk id="38" creationId="{40931DB5-DF30-47E5-88A5-E80CFFB465E9}"/>
          </ac:spMkLst>
        </pc:spChg>
        <pc:spChg chg="add mod">
          <ac:chgData name="Richerzhagen, Bjoern (T CED WLN-DE)" userId="1be7a072-4164-461c-b9ed-ae3c5d97c1a8" providerId="ADAL" clId="{A27AFCC7-D8F6-44BC-A001-AAF1884E580A}" dt="2022-03-08T08:08:43.340" v="17114" actId="164"/>
          <ac:spMkLst>
            <pc:docMk/>
            <pc:sldMk cId="3992377790" sldId="2147374035"/>
            <ac:spMk id="40" creationId="{AEE00F84-24D7-4CF5-990F-0869209378E4}"/>
          </ac:spMkLst>
        </pc:spChg>
        <pc:spChg chg="mod">
          <ac:chgData name="Richerzhagen, Bjoern (T CED WLN-DE)" userId="1be7a072-4164-461c-b9ed-ae3c5d97c1a8" providerId="ADAL" clId="{A27AFCC7-D8F6-44BC-A001-AAF1884E580A}" dt="2022-03-08T08:09:03.280" v="17122" actId="20577"/>
          <ac:spMkLst>
            <pc:docMk/>
            <pc:sldMk cId="3992377790" sldId="2147374035"/>
            <ac:spMk id="46" creationId="{25CD2F0D-9E35-427F-919E-A63BC850DFA0}"/>
          </ac:spMkLst>
        </pc:spChg>
        <pc:spChg chg="mod">
          <ac:chgData name="Richerzhagen, Bjoern (T CED WLN-DE)" userId="1be7a072-4164-461c-b9ed-ae3c5d97c1a8" providerId="ADAL" clId="{A27AFCC7-D8F6-44BC-A001-AAF1884E580A}" dt="2022-03-08T08:08:44.623" v="17115"/>
          <ac:spMkLst>
            <pc:docMk/>
            <pc:sldMk cId="3992377790" sldId="2147374035"/>
            <ac:spMk id="47" creationId="{2137DFC5-EBF1-48F1-9423-5B966A018E9C}"/>
          </ac:spMkLst>
        </pc:spChg>
        <pc:spChg chg="mod">
          <ac:chgData name="Richerzhagen, Bjoern (T CED WLN-DE)" userId="1be7a072-4164-461c-b9ed-ae3c5d97c1a8" providerId="ADAL" clId="{A27AFCC7-D8F6-44BC-A001-AAF1884E580A}" dt="2022-03-08T08:08:44.623" v="17115"/>
          <ac:spMkLst>
            <pc:docMk/>
            <pc:sldMk cId="3992377790" sldId="2147374035"/>
            <ac:spMk id="48" creationId="{30949C3C-74DF-4DE5-B47A-D26FC699271D}"/>
          </ac:spMkLst>
        </pc:spChg>
        <pc:spChg chg="mod">
          <ac:chgData name="Richerzhagen, Bjoern (T CED WLN-DE)" userId="1be7a072-4164-461c-b9ed-ae3c5d97c1a8" providerId="ADAL" clId="{A27AFCC7-D8F6-44BC-A001-AAF1884E580A}" dt="2022-03-08T08:08:44.623" v="17115"/>
          <ac:spMkLst>
            <pc:docMk/>
            <pc:sldMk cId="3992377790" sldId="2147374035"/>
            <ac:spMk id="49" creationId="{5176C8B3-5F64-471D-ACE0-6BC8BAA7D997}"/>
          </ac:spMkLst>
        </pc:spChg>
        <pc:spChg chg="mod">
          <ac:chgData name="Richerzhagen, Bjoern (T CED WLN-DE)" userId="1be7a072-4164-461c-b9ed-ae3c5d97c1a8" providerId="ADAL" clId="{A27AFCC7-D8F6-44BC-A001-AAF1884E580A}" dt="2022-03-08T08:09:07.925" v="17124" actId="20577"/>
          <ac:spMkLst>
            <pc:docMk/>
            <pc:sldMk cId="3992377790" sldId="2147374035"/>
            <ac:spMk id="53" creationId="{31BFC622-7AF6-462D-B025-DC6D2A05B09D}"/>
          </ac:spMkLst>
        </pc:spChg>
        <pc:spChg chg="mod">
          <ac:chgData name="Richerzhagen, Bjoern (T CED WLN-DE)" userId="1be7a072-4164-461c-b9ed-ae3c5d97c1a8" providerId="ADAL" clId="{A27AFCC7-D8F6-44BC-A001-AAF1884E580A}" dt="2022-03-08T08:08:49.288" v="17117"/>
          <ac:spMkLst>
            <pc:docMk/>
            <pc:sldMk cId="3992377790" sldId="2147374035"/>
            <ac:spMk id="54" creationId="{C7549CD4-FE50-4EA8-92F5-744FC287FF28}"/>
          </ac:spMkLst>
        </pc:spChg>
        <pc:spChg chg="mod">
          <ac:chgData name="Richerzhagen, Bjoern (T CED WLN-DE)" userId="1be7a072-4164-461c-b9ed-ae3c5d97c1a8" providerId="ADAL" clId="{A27AFCC7-D8F6-44BC-A001-AAF1884E580A}" dt="2022-03-08T08:08:49.288" v="17117"/>
          <ac:spMkLst>
            <pc:docMk/>
            <pc:sldMk cId="3992377790" sldId="2147374035"/>
            <ac:spMk id="55" creationId="{731C30C1-AF8E-4DBD-8EAD-313DB07AFC51}"/>
          </ac:spMkLst>
        </pc:spChg>
        <pc:spChg chg="mod">
          <ac:chgData name="Richerzhagen, Bjoern (T CED WLN-DE)" userId="1be7a072-4164-461c-b9ed-ae3c5d97c1a8" providerId="ADAL" clId="{A27AFCC7-D8F6-44BC-A001-AAF1884E580A}" dt="2022-03-08T08:08:49.288" v="17117"/>
          <ac:spMkLst>
            <pc:docMk/>
            <pc:sldMk cId="3992377790" sldId="2147374035"/>
            <ac:spMk id="56" creationId="{7D1FF60F-37ED-4523-9037-52ACF8443D18}"/>
          </ac:spMkLst>
        </pc:spChg>
        <pc:spChg chg="mod">
          <ac:chgData name="Richerzhagen, Bjoern (T CED WLN-DE)" userId="1be7a072-4164-461c-b9ed-ae3c5d97c1a8" providerId="ADAL" clId="{A27AFCC7-D8F6-44BC-A001-AAF1884E580A}" dt="2022-03-08T08:09:10.233" v="17126" actId="20577"/>
          <ac:spMkLst>
            <pc:docMk/>
            <pc:sldMk cId="3992377790" sldId="2147374035"/>
            <ac:spMk id="60" creationId="{9FD3260E-7419-4576-9CCB-6F02E8EF6EAF}"/>
          </ac:spMkLst>
        </pc:spChg>
        <pc:spChg chg="mod">
          <ac:chgData name="Richerzhagen, Bjoern (T CED WLN-DE)" userId="1be7a072-4164-461c-b9ed-ae3c5d97c1a8" providerId="ADAL" clId="{A27AFCC7-D8F6-44BC-A001-AAF1884E580A}" dt="2022-03-08T08:08:54.814" v="17119"/>
          <ac:spMkLst>
            <pc:docMk/>
            <pc:sldMk cId="3992377790" sldId="2147374035"/>
            <ac:spMk id="61" creationId="{16EFEED8-765A-4243-B221-C16D758E4828}"/>
          </ac:spMkLst>
        </pc:spChg>
        <pc:spChg chg="mod">
          <ac:chgData name="Richerzhagen, Bjoern (T CED WLN-DE)" userId="1be7a072-4164-461c-b9ed-ae3c5d97c1a8" providerId="ADAL" clId="{A27AFCC7-D8F6-44BC-A001-AAF1884E580A}" dt="2022-03-08T08:08:54.814" v="17119"/>
          <ac:spMkLst>
            <pc:docMk/>
            <pc:sldMk cId="3992377790" sldId="2147374035"/>
            <ac:spMk id="62" creationId="{F3FB8BFE-7FD4-4209-9197-03E0B6A27ED6}"/>
          </ac:spMkLst>
        </pc:spChg>
        <pc:spChg chg="mod">
          <ac:chgData name="Richerzhagen, Bjoern (T CED WLN-DE)" userId="1be7a072-4164-461c-b9ed-ae3c5d97c1a8" providerId="ADAL" clId="{A27AFCC7-D8F6-44BC-A001-AAF1884E580A}" dt="2022-03-08T08:08:54.814" v="17119"/>
          <ac:spMkLst>
            <pc:docMk/>
            <pc:sldMk cId="3992377790" sldId="2147374035"/>
            <ac:spMk id="63" creationId="{ED99A45C-4066-4D95-BD15-5BB3BB790047}"/>
          </ac:spMkLst>
        </pc:spChg>
        <pc:grpChg chg="add mod">
          <ac:chgData name="Richerzhagen, Bjoern (T CED WLN-DE)" userId="1be7a072-4164-461c-b9ed-ae3c5d97c1a8" providerId="ADAL" clId="{A27AFCC7-D8F6-44BC-A001-AAF1884E580A}" dt="2022-03-08T08:08:43.340" v="17114" actId="164"/>
          <ac:grpSpMkLst>
            <pc:docMk/>
            <pc:sldMk cId="3992377790" sldId="2147374035"/>
            <ac:grpSpMk id="8" creationId="{8DB24E4D-04AC-43A7-95DA-5635E8022034}"/>
          </ac:grpSpMkLst>
        </pc:grpChg>
        <pc:grpChg chg="del">
          <ac:chgData name="Richerzhagen, Bjoern (T CED WLN-DE)" userId="1be7a072-4164-461c-b9ed-ae3c5d97c1a8" providerId="ADAL" clId="{A27AFCC7-D8F6-44BC-A001-AAF1884E580A}" dt="2022-03-08T08:06:43.805" v="17076" actId="478"/>
          <ac:grpSpMkLst>
            <pc:docMk/>
            <pc:sldMk cId="3992377790" sldId="2147374035"/>
            <ac:grpSpMk id="22" creationId="{463AE203-866F-4708-B181-BFD5F47229DD}"/>
          </ac:grpSpMkLst>
        </pc:grpChg>
        <pc:grpChg chg="add del mod">
          <ac:chgData name="Richerzhagen, Bjoern (T CED WLN-DE)" userId="1be7a072-4164-461c-b9ed-ae3c5d97c1a8" providerId="ADAL" clId="{A27AFCC7-D8F6-44BC-A001-AAF1884E580A}" dt="2022-03-08T08:06:59.411" v="17080" actId="478"/>
          <ac:grpSpMkLst>
            <pc:docMk/>
            <pc:sldMk cId="3992377790" sldId="2147374035"/>
            <ac:grpSpMk id="25" creationId="{1435D7B6-410C-41D2-9E33-F2F8789C5495}"/>
          </ac:grpSpMkLst>
        </pc:grpChg>
        <pc:grpChg chg="del">
          <ac:chgData name="Richerzhagen, Bjoern (T CED WLN-DE)" userId="1be7a072-4164-461c-b9ed-ae3c5d97c1a8" providerId="ADAL" clId="{A27AFCC7-D8F6-44BC-A001-AAF1884E580A}" dt="2022-03-08T08:06:47.645" v="17077" actId="478"/>
          <ac:grpSpMkLst>
            <pc:docMk/>
            <pc:sldMk cId="3992377790" sldId="2147374035"/>
            <ac:grpSpMk id="34" creationId="{56FAE068-01B7-4C38-9AAC-A84CD35B2531}"/>
          </ac:grpSpMkLst>
        </pc:grpChg>
        <pc:grpChg chg="add mod">
          <ac:chgData name="Richerzhagen, Bjoern (T CED WLN-DE)" userId="1be7a072-4164-461c-b9ed-ae3c5d97c1a8" providerId="ADAL" clId="{A27AFCC7-D8F6-44BC-A001-AAF1884E580A}" dt="2022-03-08T08:08:43.340" v="17114" actId="164"/>
          <ac:grpSpMkLst>
            <pc:docMk/>
            <pc:sldMk cId="3992377790" sldId="2147374035"/>
            <ac:grpSpMk id="35" creationId="{793DFD55-B768-4330-A44E-FE557BBAE9B1}"/>
          </ac:grpSpMkLst>
        </pc:grpChg>
        <pc:grpChg chg="del">
          <ac:chgData name="Richerzhagen, Bjoern (T CED WLN-DE)" userId="1be7a072-4164-461c-b9ed-ae3c5d97c1a8" providerId="ADAL" clId="{A27AFCC7-D8F6-44BC-A001-AAF1884E580A}" dt="2022-03-08T08:06:42.812" v="17075" actId="478"/>
          <ac:grpSpMkLst>
            <pc:docMk/>
            <pc:sldMk cId="3992377790" sldId="2147374035"/>
            <ac:grpSpMk id="42" creationId="{324469AF-DD6D-4C2E-BC4F-C1A74C3342DC}"/>
          </ac:grpSpMkLst>
        </pc:grpChg>
        <pc:grpChg chg="add mod">
          <ac:chgData name="Richerzhagen, Bjoern (T CED WLN-DE)" userId="1be7a072-4164-461c-b9ed-ae3c5d97c1a8" providerId="ADAL" clId="{A27AFCC7-D8F6-44BC-A001-AAF1884E580A}" dt="2022-03-08T08:08:48.332" v="17116" actId="1076"/>
          <ac:grpSpMkLst>
            <pc:docMk/>
            <pc:sldMk cId="3992377790" sldId="2147374035"/>
            <ac:grpSpMk id="43" creationId="{A87CC914-1408-4A0C-B5BC-9C08C44CAC54}"/>
          </ac:grpSpMkLst>
        </pc:grpChg>
        <pc:grpChg chg="mod">
          <ac:chgData name="Richerzhagen, Bjoern (T CED WLN-DE)" userId="1be7a072-4164-461c-b9ed-ae3c5d97c1a8" providerId="ADAL" clId="{A27AFCC7-D8F6-44BC-A001-AAF1884E580A}" dt="2022-03-08T08:08:44.623" v="17115"/>
          <ac:grpSpMkLst>
            <pc:docMk/>
            <pc:sldMk cId="3992377790" sldId="2147374035"/>
            <ac:grpSpMk id="44" creationId="{9ED9A85C-7D28-41C6-85F8-D912D0604CB7}"/>
          </ac:grpSpMkLst>
        </pc:grpChg>
        <pc:grpChg chg="add mod">
          <ac:chgData name="Richerzhagen, Bjoern (T CED WLN-DE)" userId="1be7a072-4164-461c-b9ed-ae3c5d97c1a8" providerId="ADAL" clId="{A27AFCC7-D8F6-44BC-A001-AAF1884E580A}" dt="2022-03-08T08:08:53.920" v="17118" actId="1076"/>
          <ac:grpSpMkLst>
            <pc:docMk/>
            <pc:sldMk cId="3992377790" sldId="2147374035"/>
            <ac:grpSpMk id="50" creationId="{965E52EA-3B46-42CE-B422-E6F19B19743D}"/>
          </ac:grpSpMkLst>
        </pc:grpChg>
        <pc:grpChg chg="mod">
          <ac:chgData name="Richerzhagen, Bjoern (T CED WLN-DE)" userId="1be7a072-4164-461c-b9ed-ae3c5d97c1a8" providerId="ADAL" clId="{A27AFCC7-D8F6-44BC-A001-AAF1884E580A}" dt="2022-03-08T08:08:49.288" v="17117"/>
          <ac:grpSpMkLst>
            <pc:docMk/>
            <pc:sldMk cId="3992377790" sldId="2147374035"/>
            <ac:grpSpMk id="51" creationId="{8CEEAD66-03B5-4B46-912F-EB0F3AB1CAFD}"/>
          </ac:grpSpMkLst>
        </pc:grpChg>
        <pc:grpChg chg="add mod">
          <ac:chgData name="Richerzhagen, Bjoern (T CED WLN-DE)" userId="1be7a072-4164-461c-b9ed-ae3c5d97c1a8" providerId="ADAL" clId="{A27AFCC7-D8F6-44BC-A001-AAF1884E580A}" dt="2022-03-08T08:08:59.775" v="17120" actId="1076"/>
          <ac:grpSpMkLst>
            <pc:docMk/>
            <pc:sldMk cId="3992377790" sldId="2147374035"/>
            <ac:grpSpMk id="57" creationId="{59F9EC03-97BA-4EE1-8E6F-BDD77994FCDA}"/>
          </ac:grpSpMkLst>
        </pc:grpChg>
        <pc:grpChg chg="mod">
          <ac:chgData name="Richerzhagen, Bjoern (T CED WLN-DE)" userId="1be7a072-4164-461c-b9ed-ae3c5d97c1a8" providerId="ADAL" clId="{A27AFCC7-D8F6-44BC-A001-AAF1884E580A}" dt="2022-03-08T08:08:54.814" v="17119"/>
          <ac:grpSpMkLst>
            <pc:docMk/>
            <pc:sldMk cId="3992377790" sldId="2147374035"/>
            <ac:grpSpMk id="58" creationId="{549073E2-5F93-448C-BB2F-4DB0DE264B6F}"/>
          </ac:grpSpMkLst>
        </pc:grpChg>
        <pc:cxnChg chg="add mod">
          <ac:chgData name="Richerzhagen, Bjoern (T CED WLN-DE)" userId="1be7a072-4164-461c-b9ed-ae3c5d97c1a8" providerId="ADAL" clId="{A27AFCC7-D8F6-44BC-A001-AAF1884E580A}" dt="2022-03-08T08:08:43.340" v="17114" actId="164"/>
          <ac:cxnSpMkLst>
            <pc:docMk/>
            <pc:sldMk cId="3992377790" sldId="2147374035"/>
            <ac:cxnSpMk id="39" creationId="{589950E0-97CB-4837-855C-3117D2B7B11D}"/>
          </ac:cxnSpMkLst>
        </pc:cxnChg>
        <pc:cxnChg chg="mod">
          <ac:chgData name="Richerzhagen, Bjoern (T CED WLN-DE)" userId="1be7a072-4164-461c-b9ed-ae3c5d97c1a8" providerId="ADAL" clId="{A27AFCC7-D8F6-44BC-A001-AAF1884E580A}" dt="2022-03-08T08:08:44.623" v="17115"/>
          <ac:cxnSpMkLst>
            <pc:docMk/>
            <pc:sldMk cId="3992377790" sldId="2147374035"/>
            <ac:cxnSpMk id="45" creationId="{867EE88A-D95F-4B9C-A313-96008412F486}"/>
          </ac:cxnSpMkLst>
        </pc:cxnChg>
        <pc:cxnChg chg="mod">
          <ac:chgData name="Richerzhagen, Bjoern (T CED WLN-DE)" userId="1be7a072-4164-461c-b9ed-ae3c5d97c1a8" providerId="ADAL" clId="{A27AFCC7-D8F6-44BC-A001-AAF1884E580A}" dt="2022-03-08T08:08:49.288" v="17117"/>
          <ac:cxnSpMkLst>
            <pc:docMk/>
            <pc:sldMk cId="3992377790" sldId="2147374035"/>
            <ac:cxnSpMk id="52" creationId="{4778CB43-91EC-4DAD-B37F-E31E69493DD8}"/>
          </ac:cxnSpMkLst>
        </pc:cxnChg>
        <pc:cxnChg chg="mod">
          <ac:chgData name="Richerzhagen, Bjoern (T CED WLN-DE)" userId="1be7a072-4164-461c-b9ed-ae3c5d97c1a8" providerId="ADAL" clId="{A27AFCC7-D8F6-44BC-A001-AAF1884E580A}" dt="2022-03-08T08:08:54.814" v="17119"/>
          <ac:cxnSpMkLst>
            <pc:docMk/>
            <pc:sldMk cId="3992377790" sldId="2147374035"/>
            <ac:cxnSpMk id="59" creationId="{2C43B8AA-67B9-405C-AFD7-4607F70A0271}"/>
          </ac:cxnSpMkLst>
        </pc:cxnChg>
        <pc:cxnChg chg="add del mod">
          <ac:chgData name="Richerzhagen, Bjoern (T CED WLN-DE)" userId="1be7a072-4164-461c-b9ed-ae3c5d97c1a8" providerId="ADAL" clId="{A27AFCC7-D8F6-44BC-A001-AAF1884E580A}" dt="2022-03-08T08:09:31.391" v="17129" actId="478"/>
          <ac:cxnSpMkLst>
            <pc:docMk/>
            <pc:sldMk cId="3992377790" sldId="2147374035"/>
            <ac:cxnSpMk id="64" creationId="{1348D0C1-84DF-4215-AF4E-76341D3C9A50}"/>
          </ac:cxnSpMkLst>
        </pc:cxnChg>
      </pc:sldChg>
      <pc:sldChg chg="addSp delSp modSp new mod modNotes modNotesTx">
        <pc:chgData name="Richerzhagen, Bjoern (T CED WLN-DE)" userId="1be7a072-4164-461c-b9ed-ae3c5d97c1a8" providerId="ADAL" clId="{A27AFCC7-D8F6-44BC-A001-AAF1884E580A}" dt="2022-03-08T10:32:32.888" v="38713" actId="113"/>
        <pc:sldMkLst>
          <pc:docMk/>
          <pc:sldMk cId="439704998" sldId="2147374036"/>
        </pc:sldMkLst>
        <pc:spChg chg="mod">
          <ac:chgData name="Richerzhagen, Bjoern (T CED WLN-DE)" userId="1be7a072-4164-461c-b9ed-ae3c5d97c1a8" providerId="ADAL" clId="{A27AFCC7-D8F6-44BC-A001-AAF1884E580A}" dt="2022-03-07T09:23:16.887" v="16383" actId="790"/>
          <ac:spMkLst>
            <pc:docMk/>
            <pc:sldMk cId="439704998" sldId="2147374036"/>
            <ac:spMk id="2" creationId="{49C459C6-661F-4B9A-9E38-FB09392A77BF}"/>
          </ac:spMkLst>
        </pc:spChg>
        <pc:spChg chg="del mod">
          <ac:chgData name="Richerzhagen, Bjoern (T CED WLN-DE)" userId="1be7a072-4164-461c-b9ed-ae3c5d97c1a8" providerId="ADAL" clId="{A27AFCC7-D8F6-44BC-A001-AAF1884E580A}" dt="2022-03-07T09:29:24.177" v="16585" actId="478"/>
          <ac:spMkLst>
            <pc:docMk/>
            <pc:sldMk cId="439704998" sldId="2147374036"/>
            <ac:spMk id="3" creationId="{C644A22C-51AD-4E4D-89BC-EDC9005A19B8}"/>
          </ac:spMkLst>
        </pc:spChg>
        <pc:spChg chg="add mod">
          <ac:chgData name="Richerzhagen, Bjoern (T CED WLN-DE)" userId="1be7a072-4164-461c-b9ed-ae3c5d97c1a8" providerId="ADAL" clId="{A27AFCC7-D8F6-44BC-A001-AAF1884E580A}" dt="2022-03-08T07:23:52" v="16800" actId="113"/>
          <ac:spMkLst>
            <pc:docMk/>
            <pc:sldMk cId="439704998" sldId="2147374036"/>
            <ac:spMk id="4" creationId="{09940B74-72CB-4BE4-A682-EF15DD289E83}"/>
          </ac:spMkLst>
        </pc:spChg>
        <pc:spChg chg="add mod">
          <ac:chgData name="Richerzhagen, Bjoern (T CED WLN-DE)" userId="1be7a072-4164-461c-b9ed-ae3c5d97c1a8" providerId="ADAL" clId="{A27AFCC7-D8F6-44BC-A001-AAF1884E580A}" dt="2022-03-08T07:23:57.977" v="16801" actId="113"/>
          <ac:spMkLst>
            <pc:docMk/>
            <pc:sldMk cId="439704998" sldId="2147374036"/>
            <ac:spMk id="5" creationId="{60A3249E-72D6-4DCF-9D45-7553C00F73EB}"/>
          </ac:spMkLst>
        </pc:spChg>
        <pc:spChg chg="add mod">
          <ac:chgData name="Richerzhagen, Bjoern (T CED WLN-DE)" userId="1be7a072-4164-461c-b9ed-ae3c5d97c1a8" providerId="ADAL" clId="{A27AFCC7-D8F6-44BC-A001-AAF1884E580A}" dt="2022-03-08T07:24:06.139" v="16802" actId="113"/>
          <ac:spMkLst>
            <pc:docMk/>
            <pc:sldMk cId="439704998" sldId="2147374036"/>
            <ac:spMk id="6" creationId="{F45C260A-5B11-4C0D-9811-D10CFF900C5C}"/>
          </ac:spMkLst>
        </pc:spChg>
        <pc:spChg chg="add mod">
          <ac:chgData name="Richerzhagen, Bjoern (T CED WLN-DE)" userId="1be7a072-4164-461c-b9ed-ae3c5d97c1a8" providerId="ADAL" clId="{A27AFCC7-D8F6-44BC-A001-AAF1884E580A}" dt="2022-03-08T10:31:00.310" v="38486" actId="20577"/>
          <ac:spMkLst>
            <pc:docMk/>
            <pc:sldMk cId="439704998" sldId="2147374036"/>
            <ac:spMk id="7" creationId="{CC8C4890-4DEA-4090-9FBD-C26F2F4C7C7B}"/>
          </ac:spMkLst>
        </pc:spChg>
        <pc:spChg chg="add del mod">
          <ac:chgData name="Richerzhagen, Bjoern (T CED WLN-DE)" userId="1be7a072-4164-461c-b9ed-ae3c5d97c1a8" providerId="ADAL" clId="{A27AFCC7-D8F6-44BC-A001-AAF1884E580A}" dt="2022-03-07T09:34:55.835" v="16617" actId="478"/>
          <ac:spMkLst>
            <pc:docMk/>
            <pc:sldMk cId="439704998" sldId="2147374036"/>
            <ac:spMk id="13" creationId="{419C44E7-42C9-4686-AD4E-91445607BCA5}"/>
          </ac:spMkLst>
        </pc:spChg>
        <pc:spChg chg="mod">
          <ac:chgData name="Richerzhagen, Bjoern (T CED WLN-DE)" userId="1be7a072-4164-461c-b9ed-ae3c5d97c1a8" providerId="ADAL" clId="{A27AFCC7-D8F6-44BC-A001-AAF1884E580A}" dt="2022-03-07T09:34:50.292" v="16615"/>
          <ac:spMkLst>
            <pc:docMk/>
            <pc:sldMk cId="439704998" sldId="2147374036"/>
            <ac:spMk id="15" creationId="{BBC5B568-74EF-424C-9CF4-0843A6632201}"/>
          </ac:spMkLst>
        </pc:spChg>
        <pc:spChg chg="mod">
          <ac:chgData name="Richerzhagen, Bjoern (T CED WLN-DE)" userId="1be7a072-4164-461c-b9ed-ae3c5d97c1a8" providerId="ADAL" clId="{A27AFCC7-D8F6-44BC-A001-AAF1884E580A}" dt="2022-03-07T09:34:50.292" v="16615"/>
          <ac:spMkLst>
            <pc:docMk/>
            <pc:sldMk cId="439704998" sldId="2147374036"/>
            <ac:spMk id="16" creationId="{4D8498E3-47D7-4272-8330-76D647938A6D}"/>
          </ac:spMkLst>
        </pc:spChg>
        <pc:spChg chg="mod">
          <ac:chgData name="Richerzhagen, Bjoern (T CED WLN-DE)" userId="1be7a072-4164-461c-b9ed-ae3c5d97c1a8" providerId="ADAL" clId="{A27AFCC7-D8F6-44BC-A001-AAF1884E580A}" dt="2022-03-07T09:34:50.292" v="16615"/>
          <ac:spMkLst>
            <pc:docMk/>
            <pc:sldMk cId="439704998" sldId="2147374036"/>
            <ac:spMk id="17" creationId="{9EF83F81-ADC6-4CDF-8918-070EB5BFA252}"/>
          </ac:spMkLst>
        </pc:spChg>
        <pc:spChg chg="mod">
          <ac:chgData name="Richerzhagen, Bjoern (T CED WLN-DE)" userId="1be7a072-4164-461c-b9ed-ae3c5d97c1a8" providerId="ADAL" clId="{A27AFCC7-D8F6-44BC-A001-AAF1884E580A}" dt="2022-03-07T09:34:50.292" v="16615"/>
          <ac:spMkLst>
            <pc:docMk/>
            <pc:sldMk cId="439704998" sldId="2147374036"/>
            <ac:spMk id="18" creationId="{A8545BFA-15A7-4A7F-A7BC-1568667FB442}"/>
          </ac:spMkLst>
        </pc:spChg>
        <pc:grpChg chg="add mod">
          <ac:chgData name="Richerzhagen, Bjoern (T CED WLN-DE)" userId="1be7a072-4164-461c-b9ed-ae3c5d97c1a8" providerId="ADAL" clId="{A27AFCC7-D8F6-44BC-A001-AAF1884E580A}" dt="2022-03-07T09:34:54.210" v="16616" actId="1076"/>
          <ac:grpSpMkLst>
            <pc:docMk/>
            <pc:sldMk cId="439704998" sldId="2147374036"/>
            <ac:grpSpMk id="14" creationId="{FCCE1E1D-A96A-45D9-9870-F45AB9D46C38}"/>
          </ac:grpSpMkLst>
        </pc:grpChg>
        <pc:picChg chg="add mod">
          <ac:chgData name="Richerzhagen, Bjoern (T CED WLN-DE)" userId="1be7a072-4164-461c-b9ed-ae3c5d97c1a8" providerId="ADAL" clId="{A27AFCC7-D8F6-44BC-A001-AAF1884E580A}" dt="2022-03-07T09:30:20.530" v="16595" actId="1076"/>
          <ac:picMkLst>
            <pc:docMk/>
            <pc:sldMk cId="439704998" sldId="2147374036"/>
            <ac:picMk id="9" creationId="{E4ACD85B-F42A-4333-82CA-CAC76996B80E}"/>
          </ac:picMkLst>
        </pc:picChg>
        <pc:picChg chg="add mod">
          <ac:chgData name="Richerzhagen, Bjoern (T CED WLN-DE)" userId="1be7a072-4164-461c-b9ed-ae3c5d97c1a8" providerId="ADAL" clId="{A27AFCC7-D8F6-44BC-A001-AAF1884E580A}" dt="2022-03-07T09:33:04.258" v="16606" actId="207"/>
          <ac:picMkLst>
            <pc:docMk/>
            <pc:sldMk cId="439704998" sldId="2147374036"/>
            <ac:picMk id="10" creationId="{AADD5BF8-7037-4E82-80CD-8C60420BE514}"/>
          </ac:picMkLst>
        </pc:picChg>
        <pc:picChg chg="add mod">
          <ac:chgData name="Richerzhagen, Bjoern (T CED WLN-DE)" userId="1be7a072-4164-461c-b9ed-ae3c5d97c1a8" providerId="ADAL" clId="{A27AFCC7-D8F6-44BC-A001-AAF1884E580A}" dt="2022-03-07T09:32:51.606" v="16605" actId="207"/>
          <ac:picMkLst>
            <pc:docMk/>
            <pc:sldMk cId="439704998" sldId="2147374036"/>
            <ac:picMk id="11" creationId="{5238C5C4-9D21-4A41-B5BE-7D2601334E86}"/>
          </ac:picMkLst>
        </pc:picChg>
        <pc:picChg chg="add mod">
          <ac:chgData name="Richerzhagen, Bjoern (T CED WLN-DE)" userId="1be7a072-4164-461c-b9ed-ae3c5d97c1a8" providerId="ADAL" clId="{A27AFCC7-D8F6-44BC-A001-AAF1884E580A}" dt="2022-03-07T09:33:17.240" v="16607" actId="207"/>
          <ac:picMkLst>
            <pc:docMk/>
            <pc:sldMk cId="439704998" sldId="2147374036"/>
            <ac:picMk id="12" creationId="{BA5CDD4D-958A-4944-82C9-C1669D61CC55}"/>
          </ac:picMkLst>
        </pc:picChg>
      </pc:sldChg>
      <pc:sldChg chg="add mod ord modShow">
        <pc:chgData name="Richerzhagen, Bjoern (T CED WLN-DE)" userId="1be7a072-4164-461c-b9ed-ae3c5d97c1a8" providerId="ADAL" clId="{A27AFCC7-D8F6-44BC-A001-AAF1884E580A}" dt="2022-03-08T08:01:02.954" v="17023" actId="729"/>
        <pc:sldMkLst>
          <pc:docMk/>
          <pc:sldMk cId="2146983102" sldId="2147374037"/>
        </pc:sldMkLst>
      </pc:sldChg>
      <pc:sldChg chg="add mod ord modShow">
        <pc:chgData name="Richerzhagen, Bjoern (T CED WLN-DE)" userId="1be7a072-4164-461c-b9ed-ae3c5d97c1a8" providerId="ADAL" clId="{A27AFCC7-D8F6-44BC-A001-AAF1884E580A}" dt="2022-03-08T08:01:02.954" v="17023" actId="729"/>
        <pc:sldMkLst>
          <pc:docMk/>
          <pc:sldMk cId="420054730" sldId="2147374038"/>
        </pc:sldMkLst>
      </pc:sldChg>
      <pc:sldMasterChg chg="modSp mod">
        <pc:chgData name="Richerzhagen, Bjoern (T CED WLN-DE)" userId="1be7a072-4164-461c-b9ed-ae3c5d97c1a8" providerId="ADAL" clId="{A27AFCC7-D8F6-44BC-A001-AAF1884E580A}" dt="2022-03-02T12:56:14.779" v="12754" actId="790"/>
        <pc:sldMasterMkLst>
          <pc:docMk/>
          <pc:sldMasterMk cId="3226432080" sldId="2147483648"/>
        </pc:sldMasterMkLst>
        <pc:spChg chg="mod">
          <ac:chgData name="Richerzhagen, Bjoern (T CED WLN-DE)" userId="1be7a072-4164-461c-b9ed-ae3c5d97c1a8" providerId="ADAL" clId="{A27AFCC7-D8F6-44BC-A001-AAF1884E580A}" dt="2022-03-02T12:56:14.768" v="12750" actId="790"/>
          <ac:spMkLst>
            <pc:docMk/>
            <pc:sldMasterMk cId="3226432080" sldId="2147483648"/>
            <ac:spMk id="2" creationId="{FBDA8E04-160B-9A44-90FA-ED52AA4C8073}"/>
          </ac:spMkLst>
        </pc:spChg>
        <pc:spChg chg="mod">
          <ac:chgData name="Richerzhagen, Bjoern (T CED WLN-DE)" userId="1be7a072-4164-461c-b9ed-ae3c5d97c1a8" providerId="ADAL" clId="{A27AFCC7-D8F6-44BC-A001-AAF1884E580A}" dt="2022-03-02T12:56:14.773" v="12751" actId="790"/>
          <ac:spMkLst>
            <pc:docMk/>
            <pc:sldMasterMk cId="3226432080" sldId="2147483648"/>
            <ac:spMk id="3" creationId="{FA6A0C51-A7DE-C64D-8368-96181C16A518}"/>
          </ac:spMkLst>
        </pc:spChg>
        <pc:spChg chg="mod">
          <ac:chgData name="Richerzhagen, Bjoern (T CED WLN-DE)" userId="1be7a072-4164-461c-b9ed-ae3c5d97c1a8" providerId="ADAL" clId="{A27AFCC7-D8F6-44BC-A001-AAF1884E580A}" dt="2022-03-02T12:56:14.775" v="12752" actId="790"/>
          <ac:spMkLst>
            <pc:docMk/>
            <pc:sldMasterMk cId="3226432080" sldId="2147483648"/>
            <ac:spMk id="4" creationId="{41762B6B-9E13-6A4E-A4C6-F2BF01AF9541}"/>
          </ac:spMkLst>
        </pc:spChg>
        <pc:spChg chg="mod">
          <ac:chgData name="Richerzhagen, Bjoern (T CED WLN-DE)" userId="1be7a072-4164-461c-b9ed-ae3c5d97c1a8" providerId="ADAL" clId="{A27AFCC7-D8F6-44BC-A001-AAF1884E580A}" dt="2022-03-02T12:56:14.777" v="12753" actId="790"/>
          <ac:spMkLst>
            <pc:docMk/>
            <pc:sldMasterMk cId="3226432080" sldId="2147483648"/>
            <ac:spMk id="5" creationId="{F16698E0-33E2-964C-BBF8-B5E032967FB7}"/>
          </ac:spMkLst>
        </pc:spChg>
        <pc:spChg chg="mod">
          <ac:chgData name="Richerzhagen, Bjoern (T CED WLN-DE)" userId="1be7a072-4164-461c-b9ed-ae3c5d97c1a8" providerId="ADAL" clId="{A27AFCC7-D8F6-44BC-A001-AAF1884E580A}" dt="2022-03-02T12:56:14.779" v="12754" actId="790"/>
          <ac:spMkLst>
            <pc:docMk/>
            <pc:sldMasterMk cId="3226432080" sldId="2147483648"/>
            <ac:spMk id="6" creationId="{754218BC-D3AC-0743-B78B-AAC6B7DD2008}"/>
          </ac:spMkLst>
        </pc:spChg>
      </pc:sldMasterChg>
      <pc:sldMasterChg chg="modSp mod">
        <pc:chgData name="Richerzhagen, Bjoern (T CED WLN-DE)" userId="1be7a072-4164-461c-b9ed-ae3c5d97c1a8" providerId="ADAL" clId="{A27AFCC7-D8F6-44BC-A001-AAF1884E580A}" dt="2022-03-02T12:56:14.858" v="12756" actId="790"/>
        <pc:sldMasterMkLst>
          <pc:docMk/>
          <pc:sldMasterMk cId="2688017696" sldId="2147483742"/>
        </pc:sldMasterMkLst>
        <pc:spChg chg="mod">
          <ac:chgData name="Richerzhagen, Bjoern (T CED WLN-DE)" userId="1be7a072-4164-461c-b9ed-ae3c5d97c1a8" providerId="ADAL" clId="{A27AFCC7-D8F6-44BC-A001-AAF1884E580A}" dt="2022-03-02T12:56:14.845" v="12755" actId="790"/>
          <ac:spMkLst>
            <pc:docMk/>
            <pc:sldMasterMk cId="2688017696" sldId="2147483742"/>
            <ac:spMk id="2" creationId="{00000000-0000-0000-0000-000000000000}"/>
          </ac:spMkLst>
        </pc:spChg>
        <pc:spChg chg="mod">
          <ac:chgData name="Richerzhagen, Bjoern (T CED WLN-DE)" userId="1be7a072-4164-461c-b9ed-ae3c5d97c1a8" providerId="ADAL" clId="{A27AFCC7-D8F6-44BC-A001-AAF1884E580A}" dt="2022-03-02T12:56:14.858" v="12756" actId="790"/>
          <ac:spMkLst>
            <pc:docMk/>
            <pc:sldMasterMk cId="2688017696" sldId="2147483742"/>
            <ac:spMk id="3" creationId="{00000000-0000-0000-0000-000000000000}"/>
          </ac:spMkLst>
        </pc:spChg>
      </pc:sldMasterChg>
    </pc:docChg>
  </pc:docChgLst>
  <pc:docChgLst>
    <pc:chgData name="Richerzhagen, Bjoern (T CED WLN-DE)" userId="1be7a072-4164-461c-b9ed-ae3c5d97c1a8" providerId="ADAL" clId="{3E9C608B-EB90-456A-BCED-A81335046B25}"/>
    <pc:docChg chg="modSld">
      <pc:chgData name="Richerzhagen, Bjoern (T CED WLN-DE)" userId="1be7a072-4164-461c-b9ed-ae3c5d97c1a8" providerId="ADAL" clId="{3E9C608B-EB90-456A-BCED-A81335046B25}" dt="2022-04-28T06:35:34.877" v="17" actId="14100"/>
      <pc:docMkLst>
        <pc:docMk/>
      </pc:docMkLst>
      <pc:sldChg chg="addSp modSp mod">
        <pc:chgData name="Richerzhagen, Bjoern (T CED WLN-DE)" userId="1be7a072-4164-461c-b9ed-ae3c5d97c1a8" providerId="ADAL" clId="{3E9C608B-EB90-456A-BCED-A81335046B25}" dt="2022-04-28T06:35:34.877" v="17" actId="14100"/>
        <pc:sldMkLst>
          <pc:docMk/>
          <pc:sldMk cId="4059184984" sldId="284"/>
        </pc:sldMkLst>
        <pc:picChg chg="mod">
          <ac:chgData name="Richerzhagen, Bjoern (T CED WLN-DE)" userId="1be7a072-4164-461c-b9ed-ae3c5d97c1a8" providerId="ADAL" clId="{3E9C608B-EB90-456A-BCED-A81335046B25}" dt="2022-04-28T06:35:30.806" v="15" actId="1076"/>
          <ac:picMkLst>
            <pc:docMk/>
            <pc:sldMk cId="4059184984" sldId="284"/>
            <ac:picMk id="162" creationId="{932EA548-B9A3-4DB5-AEDB-E7F5B037F6D5}"/>
          </ac:picMkLst>
        </pc:picChg>
        <pc:picChg chg="add mod">
          <ac:chgData name="Richerzhagen, Bjoern (T CED WLN-DE)" userId="1be7a072-4164-461c-b9ed-ae3c5d97c1a8" providerId="ADAL" clId="{3E9C608B-EB90-456A-BCED-A81335046B25}" dt="2022-04-28T06:35:34.877" v="17" actId="14100"/>
          <ac:picMkLst>
            <pc:docMk/>
            <pc:sldMk cId="4059184984" sldId="284"/>
            <ac:picMk id="1026" creationId="{1CA320C1-D637-4291-B9ED-44DC4E8A1027}"/>
          </ac:picMkLst>
        </pc:picChg>
      </pc:sldChg>
    </pc:docChg>
  </pc:docChgLst>
  <pc:docChgLst>
    <pc:chgData name="Patrik Rugeland" userId="46fad7cd-ba53-4989-b08e-26ff1c015f87" providerId="ADAL" clId="{C09E0B16-E001-4712-A723-B661C2F2D65D}"/>
    <pc:docChg chg="undo redo custSel addSld modSld sldOrd">
      <pc:chgData name="Patrik Rugeland" userId="46fad7cd-ba53-4989-b08e-26ff1c015f87" providerId="ADAL" clId="{C09E0B16-E001-4712-A723-B661C2F2D65D}" dt="2022-02-07T16:03:27.626" v="486" actId="20577"/>
      <pc:docMkLst>
        <pc:docMk/>
      </pc:docMkLst>
      <pc:sldChg chg="modSp mod">
        <pc:chgData name="Patrik Rugeland" userId="46fad7cd-ba53-4989-b08e-26ff1c015f87" providerId="ADAL" clId="{C09E0B16-E001-4712-A723-B661C2F2D65D}" dt="2022-02-07T14:29:07.843" v="145" actId="20577"/>
        <pc:sldMkLst>
          <pc:docMk/>
          <pc:sldMk cId="3373346588" sldId="268"/>
        </pc:sldMkLst>
        <pc:spChg chg="mod">
          <ac:chgData name="Patrik Rugeland" userId="46fad7cd-ba53-4989-b08e-26ff1c015f87" providerId="ADAL" clId="{C09E0B16-E001-4712-A723-B661C2F2D65D}" dt="2022-02-07T14:29:07.843" v="145" actId="20577"/>
          <ac:spMkLst>
            <pc:docMk/>
            <pc:sldMk cId="3373346588" sldId="268"/>
            <ac:spMk id="11" creationId="{7F34CA2D-FA11-4351-828A-F0C12A82CB35}"/>
          </ac:spMkLst>
        </pc:spChg>
      </pc:sldChg>
      <pc:sldChg chg="modSp mod ord">
        <pc:chgData name="Patrik Rugeland" userId="46fad7cd-ba53-4989-b08e-26ff1c015f87" providerId="ADAL" clId="{C09E0B16-E001-4712-A723-B661C2F2D65D}" dt="2022-02-07T16:03:27.626" v="486" actId="20577"/>
        <pc:sldMkLst>
          <pc:docMk/>
          <pc:sldMk cId="612618692" sldId="269"/>
        </pc:sldMkLst>
        <pc:spChg chg="mod">
          <ac:chgData name="Patrik Rugeland" userId="46fad7cd-ba53-4989-b08e-26ff1c015f87" providerId="ADAL" clId="{C09E0B16-E001-4712-A723-B661C2F2D65D}" dt="2022-02-07T16:03:27.626" v="486" actId="20577"/>
          <ac:spMkLst>
            <pc:docMk/>
            <pc:sldMk cId="612618692" sldId="269"/>
            <ac:spMk id="5" creationId="{53B56189-0A16-4F1E-89FD-4934B7F05683}"/>
          </ac:spMkLst>
        </pc:spChg>
      </pc:sldChg>
      <pc:sldChg chg="ord">
        <pc:chgData name="Patrik Rugeland" userId="46fad7cd-ba53-4989-b08e-26ff1c015f87" providerId="ADAL" clId="{C09E0B16-E001-4712-A723-B661C2F2D65D}" dt="2022-02-07T14:31:55.374" v="231"/>
        <pc:sldMkLst>
          <pc:docMk/>
          <pc:sldMk cId="3305116576" sldId="270"/>
        </pc:sldMkLst>
      </pc:sldChg>
      <pc:sldChg chg="modSp add mod modShow">
        <pc:chgData name="Patrik Rugeland" userId="46fad7cd-ba53-4989-b08e-26ff1c015f87" providerId="ADAL" clId="{C09E0B16-E001-4712-A723-B661C2F2D65D}" dt="2022-02-07T14:31:44.838" v="227" actId="6549"/>
        <pc:sldMkLst>
          <pc:docMk/>
          <pc:sldMk cId="73171101" sldId="271"/>
        </pc:sldMkLst>
        <pc:spChg chg="mod">
          <ac:chgData name="Patrik Rugeland" userId="46fad7cd-ba53-4989-b08e-26ff1c015f87" providerId="ADAL" clId="{C09E0B16-E001-4712-A723-B661C2F2D65D}" dt="2022-02-07T14:29:40.333" v="166" actId="20577"/>
          <ac:spMkLst>
            <pc:docMk/>
            <pc:sldMk cId="73171101" sldId="271"/>
            <ac:spMk id="10" creationId="{F9868C5F-2CB5-4239-9C45-19206D61EEE2}"/>
          </ac:spMkLst>
        </pc:spChg>
        <pc:spChg chg="mod">
          <ac:chgData name="Patrik Rugeland" userId="46fad7cd-ba53-4989-b08e-26ff1c015f87" providerId="ADAL" clId="{C09E0B16-E001-4712-A723-B661C2F2D65D}" dt="2022-02-07T14:31:44.838" v="227" actId="6549"/>
          <ac:spMkLst>
            <pc:docMk/>
            <pc:sldMk cId="73171101" sldId="271"/>
            <ac:spMk id="11" creationId="{7F34CA2D-FA11-4351-828A-F0C12A82CB35}"/>
          </ac:spMkLst>
        </pc:spChg>
      </pc:sldChg>
      <pc:sldChg chg="addSp delSp modSp new mod modShow chgLayout">
        <pc:chgData name="Patrik Rugeland" userId="46fad7cd-ba53-4989-b08e-26ff1c015f87" providerId="ADAL" clId="{C09E0B16-E001-4712-A723-B661C2F2D65D}" dt="2022-02-07T15:10:03.643" v="430" actId="20577"/>
        <pc:sldMkLst>
          <pc:docMk/>
          <pc:sldMk cId="1308318402" sldId="272"/>
        </pc:sldMkLst>
        <pc:spChg chg="del mod ord">
          <ac:chgData name="Patrik Rugeland" userId="46fad7cd-ba53-4989-b08e-26ff1c015f87" providerId="ADAL" clId="{C09E0B16-E001-4712-A723-B661C2F2D65D}" dt="2022-02-07T14:32:08.236" v="233" actId="700"/>
          <ac:spMkLst>
            <pc:docMk/>
            <pc:sldMk cId="1308318402" sldId="272"/>
            <ac:spMk id="2" creationId="{3E8B0932-0591-4701-8679-5B6B7E7F5BEA}"/>
          </ac:spMkLst>
        </pc:spChg>
        <pc:spChg chg="del mod ord">
          <ac:chgData name="Patrik Rugeland" userId="46fad7cd-ba53-4989-b08e-26ff1c015f87" providerId="ADAL" clId="{C09E0B16-E001-4712-A723-B661C2F2D65D}" dt="2022-02-07T14:32:08.236" v="233" actId="700"/>
          <ac:spMkLst>
            <pc:docMk/>
            <pc:sldMk cId="1308318402" sldId="272"/>
            <ac:spMk id="3" creationId="{E35AC0C5-8048-4B77-9696-B3DEA1ECA9EE}"/>
          </ac:spMkLst>
        </pc:spChg>
        <pc:spChg chg="add mod ord">
          <ac:chgData name="Patrik Rugeland" userId="46fad7cd-ba53-4989-b08e-26ff1c015f87" providerId="ADAL" clId="{C09E0B16-E001-4712-A723-B661C2F2D65D}" dt="2022-02-07T14:32:31.359" v="258" actId="108"/>
          <ac:spMkLst>
            <pc:docMk/>
            <pc:sldMk cId="1308318402" sldId="272"/>
            <ac:spMk id="4" creationId="{006C49C0-1404-4D89-82AD-988D7C479107}"/>
          </ac:spMkLst>
        </pc:spChg>
        <pc:spChg chg="add mod ord">
          <ac:chgData name="Patrik Rugeland" userId="46fad7cd-ba53-4989-b08e-26ff1c015f87" providerId="ADAL" clId="{C09E0B16-E001-4712-A723-B661C2F2D65D}" dt="2022-02-07T15:10:03.643" v="430" actId="20577"/>
          <ac:spMkLst>
            <pc:docMk/>
            <pc:sldMk cId="1308318402" sldId="272"/>
            <ac:spMk id="5" creationId="{BEC01742-76B6-48EE-B6AF-DC752D4816F9}"/>
          </ac:spMkLst>
        </pc:spChg>
        <pc:spChg chg="mod">
          <ac:chgData name="Patrik Rugeland" userId="46fad7cd-ba53-4989-b08e-26ff1c015f87" providerId="ADAL" clId="{C09E0B16-E001-4712-A723-B661C2F2D65D}" dt="2022-02-07T14:32:55.599" v="259"/>
          <ac:spMkLst>
            <pc:docMk/>
            <pc:sldMk cId="1308318402" sldId="272"/>
            <ac:spMk id="7" creationId="{C715C6BB-D440-42B1-8977-8E6FEF7F6FB9}"/>
          </ac:spMkLst>
        </pc:spChg>
        <pc:spChg chg="mod">
          <ac:chgData name="Patrik Rugeland" userId="46fad7cd-ba53-4989-b08e-26ff1c015f87" providerId="ADAL" clId="{C09E0B16-E001-4712-A723-B661C2F2D65D}" dt="2022-02-07T14:32:55.599" v="259"/>
          <ac:spMkLst>
            <pc:docMk/>
            <pc:sldMk cId="1308318402" sldId="272"/>
            <ac:spMk id="8" creationId="{D22FFD15-8B0C-41F4-BDB8-41ABA02E5868}"/>
          </ac:spMkLst>
        </pc:spChg>
        <pc:spChg chg="mod">
          <ac:chgData name="Patrik Rugeland" userId="46fad7cd-ba53-4989-b08e-26ff1c015f87" providerId="ADAL" clId="{C09E0B16-E001-4712-A723-B661C2F2D65D}" dt="2022-02-07T14:32:55.599" v="259"/>
          <ac:spMkLst>
            <pc:docMk/>
            <pc:sldMk cId="1308318402" sldId="272"/>
            <ac:spMk id="9" creationId="{DBF398CD-3773-4E24-98F5-8C08F290AEC3}"/>
          </ac:spMkLst>
        </pc:spChg>
        <pc:spChg chg="mod">
          <ac:chgData name="Patrik Rugeland" userId="46fad7cd-ba53-4989-b08e-26ff1c015f87" providerId="ADAL" clId="{C09E0B16-E001-4712-A723-B661C2F2D65D}" dt="2022-02-07T14:32:55.599" v="259"/>
          <ac:spMkLst>
            <pc:docMk/>
            <pc:sldMk cId="1308318402" sldId="272"/>
            <ac:spMk id="10" creationId="{D807C5B5-233F-4BD1-AF05-50DDA99DA3C8}"/>
          </ac:spMkLst>
        </pc:spChg>
        <pc:spChg chg="mod">
          <ac:chgData name="Patrik Rugeland" userId="46fad7cd-ba53-4989-b08e-26ff1c015f87" providerId="ADAL" clId="{C09E0B16-E001-4712-A723-B661C2F2D65D}" dt="2022-02-07T14:35:25.567" v="383" actId="20577"/>
          <ac:spMkLst>
            <pc:docMk/>
            <pc:sldMk cId="1308318402" sldId="272"/>
            <ac:spMk id="13" creationId="{B7731535-A188-49D7-865B-2008F4E03DA9}"/>
          </ac:spMkLst>
        </pc:spChg>
        <pc:grpChg chg="add mod">
          <ac:chgData name="Patrik Rugeland" userId="46fad7cd-ba53-4989-b08e-26ff1c015f87" providerId="ADAL" clId="{C09E0B16-E001-4712-A723-B661C2F2D65D}" dt="2022-02-07T14:34:19.719" v="377" actId="1076"/>
          <ac:grpSpMkLst>
            <pc:docMk/>
            <pc:sldMk cId="1308318402" sldId="272"/>
            <ac:grpSpMk id="6" creationId="{8C88570F-75E8-4CFD-A6A3-1B402C548E84}"/>
          </ac:grpSpMkLst>
        </pc:grpChg>
        <pc:cxnChg chg="mod">
          <ac:chgData name="Patrik Rugeland" userId="46fad7cd-ba53-4989-b08e-26ff1c015f87" providerId="ADAL" clId="{C09E0B16-E001-4712-A723-B661C2F2D65D}" dt="2022-02-07T14:33:11.525" v="263" actId="14100"/>
          <ac:cxnSpMkLst>
            <pc:docMk/>
            <pc:sldMk cId="1308318402" sldId="272"/>
            <ac:cxnSpMk id="11" creationId="{13FEC781-21C9-4355-8AE5-9E819EF5A12C}"/>
          </ac:cxnSpMkLst>
        </pc:cxnChg>
        <pc:cxnChg chg="mod">
          <ac:chgData name="Patrik Rugeland" userId="46fad7cd-ba53-4989-b08e-26ff1c015f87" providerId="ADAL" clId="{C09E0B16-E001-4712-A723-B661C2F2D65D}" dt="2022-02-07T14:32:55.599" v="259"/>
          <ac:cxnSpMkLst>
            <pc:docMk/>
            <pc:sldMk cId="1308318402" sldId="272"/>
            <ac:cxnSpMk id="12" creationId="{E470F4D5-EB25-46F5-8F73-5C5287DC63CC}"/>
          </ac:cxnSpMkLst>
        </pc:cxnChg>
      </pc:sldChg>
    </pc:docChg>
  </pc:docChgLst>
  <pc:docChgLst>
    <pc:chgData name="Richerzhagen, Bjoern (CT RDA IOT WLN-DE)" userId="S::bjoern.richerzhagen_siemens.com#ext#@nokia.onmicrosoft.com::b1ea570a-6f00-44f9-a966-b1a375c6c534" providerId="AD" clId="Web-{680A6F42-134F-EDDE-0D48-0D7E50F629CA}"/>
    <pc:docChg chg="delSld modSld modSection">
      <pc:chgData name="Richerzhagen, Bjoern (CT RDA IOT WLN-DE)" userId="S::bjoern.richerzhagen_siemens.com#ext#@nokia.onmicrosoft.com::b1ea570a-6f00-44f9-a966-b1a375c6c534" providerId="AD" clId="Web-{680A6F42-134F-EDDE-0D48-0D7E50F629CA}" dt="2022-03-09T14:41:24.410" v="32"/>
      <pc:docMkLst>
        <pc:docMk/>
      </pc:docMkLst>
      <pc:sldChg chg="modNotes">
        <pc:chgData name="Richerzhagen, Bjoern (CT RDA IOT WLN-DE)" userId="S::bjoern.richerzhagen_siemens.com#ext#@nokia.onmicrosoft.com::b1ea570a-6f00-44f9-a966-b1a375c6c534" providerId="AD" clId="Web-{680A6F42-134F-EDDE-0D48-0D7E50F629CA}" dt="2022-03-09T14:40:19.158" v="0"/>
        <pc:sldMkLst>
          <pc:docMk/>
          <pc:sldMk cId="3777763534" sldId="267"/>
        </pc:sldMkLst>
      </pc:sldChg>
      <pc:sldChg chg="del">
        <pc:chgData name="Richerzhagen, Bjoern (CT RDA IOT WLN-DE)" userId="S::bjoern.richerzhagen_siemens.com#ext#@nokia.onmicrosoft.com::b1ea570a-6f00-44f9-a966-b1a375c6c534" providerId="AD" clId="Web-{680A6F42-134F-EDDE-0D48-0D7E50F629CA}" dt="2022-03-09T14:41:24.347" v="15"/>
        <pc:sldMkLst>
          <pc:docMk/>
          <pc:sldMk cId="3305116576" sldId="270"/>
        </pc:sldMkLst>
      </pc:sldChg>
      <pc:sldChg chg="del">
        <pc:chgData name="Richerzhagen, Bjoern (CT RDA IOT WLN-DE)" userId="S::bjoern.richerzhagen_siemens.com#ext#@nokia.onmicrosoft.com::b1ea570a-6f00-44f9-a966-b1a375c6c534" providerId="AD" clId="Web-{680A6F42-134F-EDDE-0D48-0D7E50F629CA}" dt="2022-03-09T14:41:24.347" v="17"/>
        <pc:sldMkLst>
          <pc:docMk/>
          <pc:sldMk cId="972166246" sldId="273"/>
        </pc:sldMkLst>
      </pc:sldChg>
      <pc:sldChg chg="modNotes">
        <pc:chgData name="Richerzhagen, Bjoern (CT RDA IOT WLN-DE)" userId="S::bjoern.richerzhagen_siemens.com#ext#@nokia.onmicrosoft.com::b1ea570a-6f00-44f9-a966-b1a375c6c534" providerId="AD" clId="Web-{680A6F42-134F-EDDE-0D48-0D7E50F629CA}" dt="2022-03-09T14:40:34.533" v="4"/>
        <pc:sldMkLst>
          <pc:docMk/>
          <pc:sldMk cId="1502900377" sldId="274"/>
        </pc:sldMkLst>
      </pc:sldChg>
      <pc:sldChg chg="del">
        <pc:chgData name="Richerzhagen, Bjoern (CT RDA IOT WLN-DE)" userId="S::bjoern.richerzhagen_siemens.com#ext#@nokia.onmicrosoft.com::b1ea570a-6f00-44f9-a966-b1a375c6c534" providerId="AD" clId="Web-{680A6F42-134F-EDDE-0D48-0D7E50F629CA}" dt="2022-03-09T14:41:24.347" v="18"/>
        <pc:sldMkLst>
          <pc:docMk/>
          <pc:sldMk cId="3646848291" sldId="278"/>
        </pc:sldMkLst>
      </pc:sldChg>
      <pc:sldChg chg="del">
        <pc:chgData name="Richerzhagen, Bjoern (CT RDA IOT WLN-DE)" userId="S::bjoern.richerzhagen_siemens.com#ext#@nokia.onmicrosoft.com::b1ea570a-6f00-44f9-a966-b1a375c6c534" providerId="AD" clId="Web-{680A6F42-134F-EDDE-0D48-0D7E50F629CA}" dt="2022-03-09T14:41:24.394" v="28"/>
        <pc:sldMkLst>
          <pc:docMk/>
          <pc:sldMk cId="11359200" sldId="280"/>
        </pc:sldMkLst>
      </pc:sldChg>
      <pc:sldChg chg="del">
        <pc:chgData name="Richerzhagen, Bjoern (CT RDA IOT WLN-DE)" userId="S::bjoern.richerzhagen_siemens.com#ext#@nokia.onmicrosoft.com::b1ea570a-6f00-44f9-a966-b1a375c6c534" providerId="AD" clId="Web-{680A6F42-134F-EDDE-0D48-0D7E50F629CA}" dt="2022-03-09T14:41:24.347" v="19"/>
        <pc:sldMkLst>
          <pc:docMk/>
          <pc:sldMk cId="4292574809" sldId="281"/>
        </pc:sldMkLst>
      </pc:sldChg>
      <pc:sldChg chg="modNotes">
        <pc:chgData name="Richerzhagen, Bjoern (CT RDA IOT WLN-DE)" userId="S::bjoern.richerzhagen_siemens.com#ext#@nokia.onmicrosoft.com::b1ea570a-6f00-44f9-a966-b1a375c6c534" providerId="AD" clId="Web-{680A6F42-134F-EDDE-0D48-0D7E50F629CA}" dt="2022-03-09T14:40:50.674" v="8"/>
        <pc:sldMkLst>
          <pc:docMk/>
          <pc:sldMk cId="1264718432" sldId="282"/>
        </pc:sldMkLst>
      </pc:sldChg>
      <pc:sldChg chg="modNotes">
        <pc:chgData name="Richerzhagen, Bjoern (CT RDA IOT WLN-DE)" userId="S::bjoern.richerzhagen_siemens.com#ext#@nokia.onmicrosoft.com::b1ea570a-6f00-44f9-a966-b1a375c6c534" providerId="AD" clId="Web-{680A6F42-134F-EDDE-0D48-0D7E50F629CA}" dt="2022-03-09T14:41:08.144" v="13"/>
        <pc:sldMkLst>
          <pc:docMk/>
          <pc:sldMk cId="4059184984" sldId="284"/>
        </pc:sldMkLst>
      </pc:sldChg>
      <pc:sldChg chg="del">
        <pc:chgData name="Richerzhagen, Bjoern (CT RDA IOT WLN-DE)" userId="S::bjoern.richerzhagen_siemens.com#ext#@nokia.onmicrosoft.com::b1ea570a-6f00-44f9-a966-b1a375c6c534" providerId="AD" clId="Web-{680A6F42-134F-EDDE-0D48-0D7E50F629CA}" dt="2022-03-09T14:41:24.394" v="31"/>
        <pc:sldMkLst>
          <pc:docMk/>
          <pc:sldMk cId="181018566" sldId="285"/>
        </pc:sldMkLst>
      </pc:sldChg>
      <pc:sldChg chg="del">
        <pc:chgData name="Richerzhagen, Bjoern (CT RDA IOT WLN-DE)" userId="S::bjoern.richerzhagen_siemens.com#ext#@nokia.onmicrosoft.com::b1ea570a-6f00-44f9-a966-b1a375c6c534" providerId="AD" clId="Web-{680A6F42-134F-EDDE-0D48-0D7E50F629CA}" dt="2022-03-09T14:41:24.347" v="16"/>
        <pc:sldMkLst>
          <pc:docMk/>
          <pc:sldMk cId="1440571170" sldId="286"/>
        </pc:sldMkLst>
      </pc:sldChg>
      <pc:sldChg chg="del">
        <pc:chgData name="Richerzhagen, Bjoern (CT RDA IOT WLN-DE)" userId="S::bjoern.richerzhagen_siemens.com#ext#@nokia.onmicrosoft.com::b1ea570a-6f00-44f9-a966-b1a375c6c534" providerId="AD" clId="Web-{680A6F42-134F-EDDE-0D48-0D7E50F629CA}" dt="2022-03-09T14:41:24.394" v="30"/>
        <pc:sldMkLst>
          <pc:docMk/>
          <pc:sldMk cId="1662346799" sldId="287"/>
        </pc:sldMkLst>
      </pc:sldChg>
      <pc:sldChg chg="modNotes">
        <pc:chgData name="Richerzhagen, Bjoern (CT RDA IOT WLN-DE)" userId="S::bjoern.richerzhagen_siemens.com#ext#@nokia.onmicrosoft.com::b1ea570a-6f00-44f9-a966-b1a375c6c534" providerId="AD" clId="Web-{680A6F42-134F-EDDE-0D48-0D7E50F629CA}" dt="2022-03-09T14:41:02.519" v="11"/>
        <pc:sldMkLst>
          <pc:docMk/>
          <pc:sldMk cId="695611138" sldId="288"/>
        </pc:sldMkLst>
      </pc:sldChg>
      <pc:sldChg chg="del">
        <pc:chgData name="Richerzhagen, Bjoern (CT RDA IOT WLN-DE)" userId="S::bjoern.richerzhagen_siemens.com#ext#@nokia.onmicrosoft.com::b1ea570a-6f00-44f9-a966-b1a375c6c534" providerId="AD" clId="Web-{680A6F42-134F-EDDE-0D48-0D7E50F629CA}" dt="2022-03-09T14:41:24.394" v="29"/>
        <pc:sldMkLst>
          <pc:docMk/>
          <pc:sldMk cId="1094006908" sldId="289"/>
        </pc:sldMkLst>
      </pc:sldChg>
      <pc:sldChg chg="del">
        <pc:chgData name="Richerzhagen, Bjoern (CT RDA IOT WLN-DE)" userId="S::bjoern.richerzhagen_siemens.com#ext#@nokia.onmicrosoft.com::b1ea570a-6f00-44f9-a966-b1a375c6c534" providerId="AD" clId="Web-{680A6F42-134F-EDDE-0D48-0D7E50F629CA}" dt="2022-03-09T14:41:24.394" v="26"/>
        <pc:sldMkLst>
          <pc:docMk/>
          <pc:sldMk cId="1492647571" sldId="2147373977"/>
        </pc:sldMkLst>
      </pc:sldChg>
      <pc:sldChg chg="del">
        <pc:chgData name="Richerzhagen, Bjoern (CT RDA IOT WLN-DE)" userId="S::bjoern.richerzhagen_siemens.com#ext#@nokia.onmicrosoft.com::b1ea570a-6f00-44f9-a966-b1a375c6c534" providerId="AD" clId="Web-{680A6F42-134F-EDDE-0D48-0D7E50F629CA}" dt="2022-03-09T14:41:24.410" v="32"/>
        <pc:sldMkLst>
          <pc:docMk/>
          <pc:sldMk cId="3477616018" sldId="2147373983"/>
        </pc:sldMkLst>
      </pc:sldChg>
      <pc:sldChg chg="modNotes">
        <pc:chgData name="Richerzhagen, Bjoern (CT RDA IOT WLN-DE)" userId="S::bjoern.richerzhagen_siemens.com#ext#@nokia.onmicrosoft.com::b1ea570a-6f00-44f9-a966-b1a375c6c534" providerId="AD" clId="Web-{680A6F42-134F-EDDE-0D48-0D7E50F629CA}" dt="2022-03-09T14:40:24.736" v="2"/>
        <pc:sldMkLst>
          <pc:docMk/>
          <pc:sldMk cId="3980683368" sldId="2147373984"/>
        </pc:sldMkLst>
      </pc:sldChg>
      <pc:sldChg chg="del">
        <pc:chgData name="Richerzhagen, Bjoern (CT RDA IOT WLN-DE)" userId="S::bjoern.richerzhagen_siemens.com#ext#@nokia.onmicrosoft.com::b1ea570a-6f00-44f9-a966-b1a375c6c534" providerId="AD" clId="Web-{680A6F42-134F-EDDE-0D48-0D7E50F629CA}" dt="2022-03-09T14:41:24.394" v="27"/>
        <pc:sldMkLst>
          <pc:docMk/>
          <pc:sldMk cId="2801443894" sldId="2147373995"/>
        </pc:sldMkLst>
      </pc:sldChg>
      <pc:sldChg chg="modNotes">
        <pc:chgData name="Richerzhagen, Bjoern (CT RDA IOT WLN-DE)" userId="S::bjoern.richerzhagen_siemens.com#ext#@nokia.onmicrosoft.com::b1ea570a-6f00-44f9-a966-b1a375c6c534" providerId="AD" clId="Web-{680A6F42-134F-EDDE-0D48-0D7E50F629CA}" dt="2022-03-09T14:40:22.955" v="1"/>
        <pc:sldMkLst>
          <pc:docMk/>
          <pc:sldMk cId="1540424334" sldId="2147374017"/>
        </pc:sldMkLst>
      </pc:sldChg>
      <pc:sldChg chg="del">
        <pc:chgData name="Richerzhagen, Bjoern (CT RDA IOT WLN-DE)" userId="S::bjoern.richerzhagen_siemens.com#ext#@nokia.onmicrosoft.com::b1ea570a-6f00-44f9-a966-b1a375c6c534" providerId="AD" clId="Web-{680A6F42-134F-EDDE-0D48-0D7E50F629CA}" dt="2022-03-09T14:41:24.363" v="24"/>
        <pc:sldMkLst>
          <pc:docMk/>
          <pc:sldMk cId="2029863095" sldId="2147374018"/>
        </pc:sldMkLst>
      </pc:sldChg>
      <pc:sldChg chg="del">
        <pc:chgData name="Richerzhagen, Bjoern (CT RDA IOT WLN-DE)" userId="S::bjoern.richerzhagen_siemens.com#ext#@nokia.onmicrosoft.com::b1ea570a-6f00-44f9-a966-b1a375c6c534" providerId="AD" clId="Web-{680A6F42-134F-EDDE-0D48-0D7E50F629CA}" dt="2022-03-09T14:41:24.363" v="23"/>
        <pc:sldMkLst>
          <pc:docMk/>
          <pc:sldMk cId="778955014" sldId="2147374019"/>
        </pc:sldMkLst>
      </pc:sldChg>
      <pc:sldChg chg="modNotes">
        <pc:chgData name="Richerzhagen, Bjoern (CT RDA IOT WLN-DE)" userId="S::bjoern.richerzhagen_siemens.com#ext#@nokia.onmicrosoft.com::b1ea570a-6f00-44f9-a966-b1a375c6c534" providerId="AD" clId="Web-{680A6F42-134F-EDDE-0D48-0D7E50F629CA}" dt="2022-03-09T14:40:37.690" v="5"/>
        <pc:sldMkLst>
          <pc:docMk/>
          <pc:sldMk cId="1043292221" sldId="2147374020"/>
        </pc:sldMkLst>
      </pc:sldChg>
      <pc:sldChg chg="modNotes">
        <pc:chgData name="Richerzhagen, Bjoern (CT RDA IOT WLN-DE)" userId="S::bjoern.richerzhagen_siemens.com#ext#@nokia.onmicrosoft.com::b1ea570a-6f00-44f9-a966-b1a375c6c534" providerId="AD" clId="Web-{680A6F42-134F-EDDE-0D48-0D7E50F629CA}" dt="2022-03-09T14:40:41.096" v="6"/>
        <pc:sldMkLst>
          <pc:docMk/>
          <pc:sldMk cId="2074864077" sldId="2147374022"/>
        </pc:sldMkLst>
      </pc:sldChg>
      <pc:sldChg chg="del">
        <pc:chgData name="Richerzhagen, Bjoern (CT RDA IOT WLN-DE)" userId="S::bjoern.richerzhagen_siemens.com#ext#@nokia.onmicrosoft.com::b1ea570a-6f00-44f9-a966-b1a375c6c534" providerId="AD" clId="Web-{680A6F42-134F-EDDE-0D48-0D7E50F629CA}" dt="2022-03-09T14:41:24.363" v="25"/>
        <pc:sldMkLst>
          <pc:docMk/>
          <pc:sldMk cId="793849896" sldId="2147374027"/>
        </pc:sldMkLst>
      </pc:sldChg>
      <pc:sldChg chg="modNotes">
        <pc:chgData name="Richerzhagen, Bjoern (CT RDA IOT WLN-DE)" userId="S::bjoern.richerzhagen_siemens.com#ext#@nokia.onmicrosoft.com::b1ea570a-6f00-44f9-a966-b1a375c6c534" providerId="AD" clId="Web-{680A6F42-134F-EDDE-0D48-0D7E50F629CA}" dt="2022-03-09T14:40:27.627" v="3"/>
        <pc:sldMkLst>
          <pc:docMk/>
          <pc:sldMk cId="2227989475" sldId="2147374028"/>
        </pc:sldMkLst>
      </pc:sldChg>
      <pc:sldChg chg="modNotes">
        <pc:chgData name="Richerzhagen, Bjoern (CT RDA IOT WLN-DE)" userId="S::bjoern.richerzhagen_siemens.com#ext#@nokia.onmicrosoft.com::b1ea570a-6f00-44f9-a966-b1a375c6c534" providerId="AD" clId="Web-{680A6F42-134F-EDDE-0D48-0D7E50F629CA}" dt="2022-03-09T14:40:46.206" v="7"/>
        <pc:sldMkLst>
          <pc:docMk/>
          <pc:sldMk cId="2924548950" sldId="2147374029"/>
        </pc:sldMkLst>
      </pc:sldChg>
      <pc:sldChg chg="modNotes">
        <pc:chgData name="Richerzhagen, Bjoern (CT RDA IOT WLN-DE)" userId="S::bjoern.richerzhagen_siemens.com#ext#@nokia.onmicrosoft.com::b1ea570a-6f00-44f9-a966-b1a375c6c534" providerId="AD" clId="Web-{680A6F42-134F-EDDE-0D48-0D7E50F629CA}" dt="2022-03-09T14:40:53.846" v="9"/>
        <pc:sldMkLst>
          <pc:docMk/>
          <pc:sldMk cId="3875107212" sldId="2147374030"/>
        </pc:sldMkLst>
      </pc:sldChg>
      <pc:sldChg chg="modNotes">
        <pc:chgData name="Richerzhagen, Bjoern (CT RDA IOT WLN-DE)" userId="S::bjoern.richerzhagen_siemens.com#ext#@nokia.onmicrosoft.com::b1ea570a-6f00-44f9-a966-b1a375c6c534" providerId="AD" clId="Web-{680A6F42-134F-EDDE-0D48-0D7E50F629CA}" dt="2022-03-09T14:41:05.456" v="12"/>
        <pc:sldMkLst>
          <pc:docMk/>
          <pc:sldMk cId="3982930373" sldId="2147374031"/>
        </pc:sldMkLst>
      </pc:sldChg>
      <pc:sldChg chg="del">
        <pc:chgData name="Richerzhagen, Bjoern (CT RDA IOT WLN-DE)" userId="S::bjoern.richerzhagen_siemens.com#ext#@nokia.onmicrosoft.com::b1ea570a-6f00-44f9-a966-b1a375c6c534" providerId="AD" clId="Web-{680A6F42-134F-EDDE-0D48-0D7E50F629CA}" dt="2022-03-09T14:41:24.347" v="22"/>
        <pc:sldMkLst>
          <pc:docMk/>
          <pc:sldMk cId="1419402340" sldId="2147374033"/>
        </pc:sldMkLst>
      </pc:sldChg>
      <pc:sldChg chg="modNotes">
        <pc:chgData name="Richerzhagen, Bjoern (CT RDA IOT WLN-DE)" userId="S::bjoern.richerzhagen_siemens.com#ext#@nokia.onmicrosoft.com::b1ea570a-6f00-44f9-a966-b1a375c6c534" providerId="AD" clId="Web-{680A6F42-134F-EDDE-0D48-0D7E50F629CA}" dt="2022-03-09T14:40:58.862" v="10"/>
        <pc:sldMkLst>
          <pc:docMk/>
          <pc:sldMk cId="728633151" sldId="2147374034"/>
        </pc:sldMkLst>
      </pc:sldChg>
      <pc:sldChg chg="modNotes">
        <pc:chgData name="Richerzhagen, Bjoern (CT RDA IOT WLN-DE)" userId="S::bjoern.richerzhagen_siemens.com#ext#@nokia.onmicrosoft.com::b1ea570a-6f00-44f9-a966-b1a375c6c534" providerId="AD" clId="Web-{680A6F42-134F-EDDE-0D48-0D7E50F629CA}" dt="2022-03-09T14:41:12.722" v="14"/>
        <pc:sldMkLst>
          <pc:docMk/>
          <pc:sldMk cId="439704998" sldId="2147374036"/>
        </pc:sldMkLst>
      </pc:sldChg>
      <pc:sldChg chg="del">
        <pc:chgData name="Richerzhagen, Bjoern (CT RDA IOT WLN-DE)" userId="S::bjoern.richerzhagen_siemens.com#ext#@nokia.onmicrosoft.com::b1ea570a-6f00-44f9-a966-b1a375c6c534" providerId="AD" clId="Web-{680A6F42-134F-EDDE-0D48-0D7E50F629CA}" dt="2022-03-09T14:41:24.347" v="21"/>
        <pc:sldMkLst>
          <pc:docMk/>
          <pc:sldMk cId="2146983102" sldId="2147374037"/>
        </pc:sldMkLst>
      </pc:sldChg>
      <pc:sldChg chg="del">
        <pc:chgData name="Richerzhagen, Bjoern (CT RDA IOT WLN-DE)" userId="S::bjoern.richerzhagen_siemens.com#ext#@nokia.onmicrosoft.com::b1ea570a-6f00-44f9-a966-b1a375c6c534" providerId="AD" clId="Web-{680A6F42-134F-EDDE-0D48-0D7E50F629CA}" dt="2022-03-09T14:41:24.347" v="20"/>
        <pc:sldMkLst>
          <pc:docMk/>
          <pc:sldMk cId="420054730" sldId="2147374038"/>
        </pc:sldMkLst>
      </pc:sldChg>
    </pc:docChg>
  </pc:docChgLst>
  <pc:docChgLst>
    <pc:chgData name="Richerzhagen, Bjoern (T CED WLN-DE)" userId="1be7a072-4164-461c-b9ed-ae3c5d97c1a8" providerId="ADAL" clId="{F3F7C3C5-44EF-4A47-931E-CECA9FA76D3D}"/>
    <pc:docChg chg="undo redo custSel addSld delSld modSld sldOrd modSection">
      <pc:chgData name="Richerzhagen, Bjoern (T CED WLN-DE)" userId="1be7a072-4164-461c-b9ed-ae3c5d97c1a8" providerId="ADAL" clId="{F3F7C3C5-44EF-4A47-931E-CECA9FA76D3D}" dt="2022-04-26T12:55:20.902" v="4125" actId="47"/>
      <pc:docMkLst>
        <pc:docMk/>
      </pc:docMkLst>
      <pc:sldChg chg="modSp mod">
        <pc:chgData name="Richerzhagen, Bjoern (T CED WLN-DE)" userId="1be7a072-4164-461c-b9ed-ae3c5d97c1a8" providerId="ADAL" clId="{F3F7C3C5-44EF-4A47-931E-CECA9FA76D3D}" dt="2022-04-26T06:21:06.480" v="103" actId="403"/>
        <pc:sldMkLst>
          <pc:docMk/>
          <pc:sldMk cId="3777763534" sldId="267"/>
        </pc:sldMkLst>
        <pc:spChg chg="mod">
          <ac:chgData name="Richerzhagen, Bjoern (T CED WLN-DE)" userId="1be7a072-4164-461c-b9ed-ae3c5d97c1a8" providerId="ADAL" clId="{F3F7C3C5-44EF-4A47-931E-CECA9FA76D3D}" dt="2022-04-26T06:21:06.480" v="103" actId="403"/>
          <ac:spMkLst>
            <pc:docMk/>
            <pc:sldMk cId="3777763534" sldId="267"/>
            <ac:spMk id="7" creationId="{CCE93626-6E4C-DB42-A87E-4C7742B5A9D2}"/>
          </ac:spMkLst>
        </pc:spChg>
        <pc:spChg chg="mod">
          <ac:chgData name="Richerzhagen, Bjoern (T CED WLN-DE)" userId="1be7a072-4164-461c-b9ed-ae3c5d97c1a8" providerId="ADAL" clId="{F3F7C3C5-44EF-4A47-931E-CECA9FA76D3D}" dt="2022-04-26T06:20:28.530" v="35" actId="20577"/>
          <ac:spMkLst>
            <pc:docMk/>
            <pc:sldMk cId="3777763534" sldId="267"/>
            <ac:spMk id="8" creationId="{6AE550FA-C9EA-6042-8AD3-0E59B6EA330B}"/>
          </ac:spMkLst>
        </pc:spChg>
      </pc:sldChg>
      <pc:sldChg chg="addSp delSp modSp add mod">
        <pc:chgData name="Richerzhagen, Bjoern (T CED WLN-DE)" userId="1be7a072-4164-461c-b9ed-ae3c5d97c1a8" providerId="ADAL" clId="{F3F7C3C5-44EF-4A47-931E-CECA9FA76D3D}" dt="2022-04-26T08:37:27.275" v="1440" actId="20577"/>
        <pc:sldMkLst>
          <pc:docMk/>
          <pc:sldMk cId="989715035" sldId="273"/>
        </pc:sldMkLst>
        <pc:spChg chg="mod">
          <ac:chgData name="Richerzhagen, Bjoern (T CED WLN-DE)" userId="1be7a072-4164-461c-b9ed-ae3c5d97c1a8" providerId="ADAL" clId="{F3F7C3C5-44EF-4A47-931E-CECA9FA76D3D}" dt="2022-04-26T08:37:27.275" v="1440" actId="20577"/>
          <ac:spMkLst>
            <pc:docMk/>
            <pc:sldMk cId="989715035" sldId="273"/>
            <ac:spMk id="2" creationId="{DE8BB2C5-0BBF-4FE5-BDD0-478EF3CA1D15}"/>
          </ac:spMkLst>
        </pc:spChg>
        <pc:spChg chg="del">
          <ac:chgData name="Richerzhagen, Bjoern (T CED WLN-DE)" userId="1be7a072-4164-461c-b9ed-ae3c5d97c1a8" providerId="ADAL" clId="{F3F7C3C5-44EF-4A47-931E-CECA9FA76D3D}" dt="2022-04-26T08:09:40.111" v="108" actId="478"/>
          <ac:spMkLst>
            <pc:docMk/>
            <pc:sldMk cId="989715035" sldId="273"/>
            <ac:spMk id="3" creationId="{BD2BD30B-4107-4E8B-AAE8-274A82263641}"/>
          </ac:spMkLst>
        </pc:spChg>
        <pc:picChg chg="add del mod">
          <ac:chgData name="Richerzhagen, Bjoern (T CED WLN-DE)" userId="1be7a072-4164-461c-b9ed-ae3c5d97c1a8" providerId="ADAL" clId="{F3F7C3C5-44EF-4A47-931E-CECA9FA76D3D}" dt="2022-04-26T08:10:52.869" v="225" actId="478"/>
          <ac:picMkLst>
            <pc:docMk/>
            <pc:sldMk cId="989715035" sldId="273"/>
            <ac:picMk id="6" creationId="{CF5CA7F7-441A-4CBA-B402-816F33D2A402}"/>
          </ac:picMkLst>
        </pc:picChg>
        <pc:picChg chg="mod">
          <ac:chgData name="Richerzhagen, Bjoern (T CED WLN-DE)" userId="1be7a072-4164-461c-b9ed-ae3c5d97c1a8" providerId="ADAL" clId="{F3F7C3C5-44EF-4A47-931E-CECA9FA76D3D}" dt="2022-04-26T08:11:22.959" v="226" actId="14826"/>
          <ac:picMkLst>
            <pc:docMk/>
            <pc:sldMk cId="989715035" sldId="273"/>
            <ac:picMk id="7" creationId="{116EBAE2-459C-4D0E-8216-7BFEE8814EBF}"/>
          </ac:picMkLst>
        </pc:picChg>
      </pc:sldChg>
      <pc:sldChg chg="addSp delSp modSp mod">
        <pc:chgData name="Richerzhagen, Bjoern (T CED WLN-DE)" userId="1be7a072-4164-461c-b9ed-ae3c5d97c1a8" providerId="ADAL" clId="{F3F7C3C5-44EF-4A47-931E-CECA9FA76D3D}" dt="2022-04-26T08:39:36.787" v="1495" actId="20577"/>
        <pc:sldMkLst>
          <pc:docMk/>
          <pc:sldMk cId="1502900377" sldId="274"/>
        </pc:sldMkLst>
        <pc:spChg chg="add del mod">
          <ac:chgData name="Richerzhagen, Bjoern (T CED WLN-DE)" userId="1be7a072-4164-461c-b9ed-ae3c5d97c1a8" providerId="ADAL" clId="{F3F7C3C5-44EF-4A47-931E-CECA9FA76D3D}" dt="2022-04-26T08:12:28.189" v="264"/>
          <ac:spMkLst>
            <pc:docMk/>
            <pc:sldMk cId="1502900377" sldId="274"/>
            <ac:spMk id="2" creationId="{128CD7A6-CC53-4B13-980B-6EF4B8F476BC}"/>
          </ac:spMkLst>
        </pc:spChg>
        <pc:spChg chg="mod">
          <ac:chgData name="Richerzhagen, Bjoern (T CED WLN-DE)" userId="1be7a072-4164-461c-b9ed-ae3c5d97c1a8" providerId="ADAL" clId="{F3F7C3C5-44EF-4A47-931E-CECA9FA76D3D}" dt="2022-04-26T08:39:36.787" v="1495" actId="20577"/>
          <ac:spMkLst>
            <pc:docMk/>
            <pc:sldMk cId="1502900377" sldId="274"/>
            <ac:spMk id="4" creationId="{EDA2E8E9-22AB-4AD1-9C82-3D348D05D62E}"/>
          </ac:spMkLst>
        </pc:spChg>
        <pc:spChg chg="mod">
          <ac:chgData name="Richerzhagen, Bjoern (T CED WLN-DE)" userId="1be7a072-4164-461c-b9ed-ae3c5d97c1a8" providerId="ADAL" clId="{F3F7C3C5-44EF-4A47-931E-CECA9FA76D3D}" dt="2022-04-26T08:12:36.460" v="267" actId="20577"/>
          <ac:spMkLst>
            <pc:docMk/>
            <pc:sldMk cId="1502900377" sldId="274"/>
            <ac:spMk id="5" creationId="{30333122-4CB5-44EF-BDCB-FE8BCF4A1840}"/>
          </ac:spMkLst>
        </pc:spChg>
        <pc:spChg chg="del">
          <ac:chgData name="Richerzhagen, Bjoern (T CED WLN-DE)" userId="1be7a072-4164-461c-b9ed-ae3c5d97c1a8" providerId="ADAL" clId="{F3F7C3C5-44EF-4A47-931E-CECA9FA76D3D}" dt="2022-04-26T08:12:08.845" v="233" actId="478"/>
          <ac:spMkLst>
            <pc:docMk/>
            <pc:sldMk cId="1502900377" sldId="274"/>
            <ac:spMk id="6" creationId="{39CF1D87-9599-4A41-A263-BC9C4B92FDAF}"/>
          </ac:spMkLst>
        </pc:spChg>
        <pc:spChg chg="add del mod">
          <ac:chgData name="Richerzhagen, Bjoern (T CED WLN-DE)" userId="1be7a072-4164-461c-b9ed-ae3c5d97c1a8" providerId="ADAL" clId="{F3F7C3C5-44EF-4A47-931E-CECA9FA76D3D}" dt="2022-04-26T08:12:28.189" v="264"/>
          <ac:spMkLst>
            <pc:docMk/>
            <pc:sldMk cId="1502900377" sldId="274"/>
            <ac:spMk id="7" creationId="{EC91B1AA-06BA-42C5-90D4-7444D8AEDC85}"/>
          </ac:spMkLst>
        </pc:spChg>
        <pc:spChg chg="del">
          <ac:chgData name="Richerzhagen, Bjoern (T CED WLN-DE)" userId="1be7a072-4164-461c-b9ed-ae3c5d97c1a8" providerId="ADAL" clId="{F3F7C3C5-44EF-4A47-931E-CECA9FA76D3D}" dt="2022-04-26T08:12:11.729" v="234" actId="478"/>
          <ac:spMkLst>
            <pc:docMk/>
            <pc:sldMk cId="1502900377" sldId="274"/>
            <ac:spMk id="9" creationId="{936F1348-EE86-4B87-9391-642A20E01B4E}"/>
          </ac:spMkLst>
        </pc:spChg>
        <pc:spChg chg="del">
          <ac:chgData name="Richerzhagen, Bjoern (T CED WLN-DE)" userId="1be7a072-4164-461c-b9ed-ae3c5d97c1a8" providerId="ADAL" clId="{F3F7C3C5-44EF-4A47-931E-CECA9FA76D3D}" dt="2022-04-26T08:12:41.091" v="268" actId="478"/>
          <ac:spMkLst>
            <pc:docMk/>
            <pc:sldMk cId="1502900377" sldId="274"/>
            <ac:spMk id="25" creationId="{2B9880B4-BF9D-4DC7-9684-256CBDDEEB8E}"/>
          </ac:spMkLst>
        </pc:spChg>
        <pc:grpChg chg="del">
          <ac:chgData name="Richerzhagen, Bjoern (T CED WLN-DE)" userId="1be7a072-4164-461c-b9ed-ae3c5d97c1a8" providerId="ADAL" clId="{F3F7C3C5-44EF-4A47-931E-CECA9FA76D3D}" dt="2022-04-26T08:12:05.974" v="230" actId="478"/>
          <ac:grpSpMkLst>
            <pc:docMk/>
            <pc:sldMk cId="1502900377" sldId="274"/>
            <ac:grpSpMk id="24" creationId="{5C305CF7-7E06-46EE-96DA-BB2096F14C6F}"/>
          </ac:grpSpMkLst>
        </pc:grpChg>
        <pc:cxnChg chg="del">
          <ac:chgData name="Richerzhagen, Bjoern (T CED WLN-DE)" userId="1be7a072-4164-461c-b9ed-ae3c5d97c1a8" providerId="ADAL" clId="{F3F7C3C5-44EF-4A47-931E-CECA9FA76D3D}" dt="2022-04-26T08:12:07.431" v="232" actId="478"/>
          <ac:cxnSpMkLst>
            <pc:docMk/>
            <pc:sldMk cId="1502900377" sldId="274"/>
            <ac:cxnSpMk id="16" creationId="{89769479-CB9D-48FB-B164-CD7C861F998A}"/>
          </ac:cxnSpMkLst>
        </pc:cxnChg>
        <pc:cxnChg chg="del">
          <ac:chgData name="Richerzhagen, Bjoern (T CED WLN-DE)" userId="1be7a072-4164-461c-b9ed-ae3c5d97c1a8" providerId="ADAL" clId="{F3F7C3C5-44EF-4A47-931E-CECA9FA76D3D}" dt="2022-04-26T08:12:06.976" v="231" actId="478"/>
          <ac:cxnSpMkLst>
            <pc:docMk/>
            <pc:sldMk cId="1502900377" sldId="274"/>
            <ac:cxnSpMk id="17" creationId="{63A3192F-F55B-4757-8E01-08277C173E44}"/>
          </ac:cxnSpMkLst>
        </pc:cxnChg>
      </pc:sldChg>
      <pc:sldChg chg="addSp delSp modSp mod">
        <pc:chgData name="Richerzhagen, Bjoern (T CED WLN-DE)" userId="1be7a072-4164-461c-b9ed-ae3c5d97c1a8" providerId="ADAL" clId="{F3F7C3C5-44EF-4A47-931E-CECA9FA76D3D}" dt="2022-04-26T12:51:23.139" v="3986" actId="1076"/>
        <pc:sldMkLst>
          <pc:docMk/>
          <pc:sldMk cId="1264718432" sldId="282"/>
        </pc:sldMkLst>
        <pc:spChg chg="mod">
          <ac:chgData name="Richerzhagen, Bjoern (T CED WLN-DE)" userId="1be7a072-4164-461c-b9ed-ae3c5d97c1a8" providerId="ADAL" clId="{F3F7C3C5-44EF-4A47-931E-CECA9FA76D3D}" dt="2022-04-26T08:41:21.927" v="1578" actId="20577"/>
          <ac:spMkLst>
            <pc:docMk/>
            <pc:sldMk cId="1264718432" sldId="282"/>
            <ac:spMk id="4" creationId="{EDA2E8E9-22AB-4AD1-9C82-3D348D05D62E}"/>
          </ac:spMkLst>
        </pc:spChg>
        <pc:spChg chg="del">
          <ac:chgData name="Richerzhagen, Bjoern (T CED WLN-DE)" userId="1be7a072-4164-461c-b9ed-ae3c5d97c1a8" providerId="ADAL" clId="{F3F7C3C5-44EF-4A47-931E-CECA9FA76D3D}" dt="2022-04-26T08:17:21.225" v="490" actId="478"/>
          <ac:spMkLst>
            <pc:docMk/>
            <pc:sldMk cId="1264718432" sldId="282"/>
            <ac:spMk id="6" creationId="{39CF1D87-9599-4A41-A263-BC9C4B92FDAF}"/>
          </ac:spMkLst>
        </pc:spChg>
        <pc:spChg chg="del">
          <ac:chgData name="Richerzhagen, Bjoern (T CED WLN-DE)" userId="1be7a072-4164-461c-b9ed-ae3c5d97c1a8" providerId="ADAL" clId="{F3F7C3C5-44EF-4A47-931E-CECA9FA76D3D}" dt="2022-04-26T08:17:17.959" v="486" actId="478"/>
          <ac:spMkLst>
            <pc:docMk/>
            <pc:sldMk cId="1264718432" sldId="282"/>
            <ac:spMk id="9" creationId="{936F1348-EE86-4B87-9391-642A20E01B4E}"/>
          </ac:spMkLst>
        </pc:spChg>
        <pc:spChg chg="mod">
          <ac:chgData name="Richerzhagen, Bjoern (T CED WLN-DE)" userId="1be7a072-4164-461c-b9ed-ae3c5d97c1a8" providerId="ADAL" clId="{F3F7C3C5-44EF-4A47-931E-CECA9FA76D3D}" dt="2022-04-26T08:18:00.362" v="524" actId="1076"/>
          <ac:spMkLst>
            <pc:docMk/>
            <pc:sldMk cId="1264718432" sldId="282"/>
            <ac:spMk id="18" creationId="{0C9344E1-63E4-4945-AC81-A1AB23FC8B98}"/>
          </ac:spMkLst>
        </pc:spChg>
        <pc:spChg chg="mod">
          <ac:chgData name="Richerzhagen, Bjoern (T CED WLN-DE)" userId="1be7a072-4164-461c-b9ed-ae3c5d97c1a8" providerId="ADAL" clId="{F3F7C3C5-44EF-4A47-931E-CECA9FA76D3D}" dt="2022-04-26T08:18:00.362" v="524" actId="1076"/>
          <ac:spMkLst>
            <pc:docMk/>
            <pc:sldMk cId="1264718432" sldId="282"/>
            <ac:spMk id="19" creationId="{701C80B4-404C-4CD0-81B7-54BD10874666}"/>
          </ac:spMkLst>
        </pc:spChg>
        <pc:spChg chg="mod">
          <ac:chgData name="Richerzhagen, Bjoern (T CED WLN-DE)" userId="1be7a072-4164-461c-b9ed-ae3c5d97c1a8" providerId="ADAL" clId="{F3F7C3C5-44EF-4A47-931E-CECA9FA76D3D}" dt="2022-04-26T08:18:00.362" v="524" actId="1076"/>
          <ac:spMkLst>
            <pc:docMk/>
            <pc:sldMk cId="1264718432" sldId="282"/>
            <ac:spMk id="20" creationId="{E1787BC5-F034-4448-856F-597E45058590}"/>
          </ac:spMkLst>
        </pc:spChg>
        <pc:spChg chg="mod">
          <ac:chgData name="Richerzhagen, Bjoern (T CED WLN-DE)" userId="1be7a072-4164-461c-b9ed-ae3c5d97c1a8" providerId="ADAL" clId="{F3F7C3C5-44EF-4A47-931E-CECA9FA76D3D}" dt="2022-04-26T08:18:00.362" v="524" actId="1076"/>
          <ac:spMkLst>
            <pc:docMk/>
            <pc:sldMk cId="1264718432" sldId="282"/>
            <ac:spMk id="25" creationId="{19EAF8C0-2963-4FF9-BC95-B05D30F708B8}"/>
          </ac:spMkLst>
        </pc:spChg>
        <pc:spChg chg="mod">
          <ac:chgData name="Richerzhagen, Bjoern (T CED WLN-DE)" userId="1be7a072-4164-461c-b9ed-ae3c5d97c1a8" providerId="ADAL" clId="{F3F7C3C5-44EF-4A47-931E-CECA9FA76D3D}" dt="2022-04-26T08:18:00.362" v="524" actId="1076"/>
          <ac:spMkLst>
            <pc:docMk/>
            <pc:sldMk cId="1264718432" sldId="282"/>
            <ac:spMk id="26" creationId="{D3FBF44B-1250-4167-864F-4AAEE58F0321}"/>
          </ac:spMkLst>
        </pc:spChg>
        <pc:spChg chg="mod">
          <ac:chgData name="Richerzhagen, Bjoern (T CED WLN-DE)" userId="1be7a072-4164-461c-b9ed-ae3c5d97c1a8" providerId="ADAL" clId="{F3F7C3C5-44EF-4A47-931E-CECA9FA76D3D}" dt="2022-04-26T08:18:00.362" v="524" actId="1076"/>
          <ac:spMkLst>
            <pc:docMk/>
            <pc:sldMk cId="1264718432" sldId="282"/>
            <ac:spMk id="27" creationId="{96C010EE-84AC-43B1-B4EB-DFBEC1C0ADC3}"/>
          </ac:spMkLst>
        </pc:spChg>
        <pc:spChg chg="mod">
          <ac:chgData name="Richerzhagen, Bjoern (T CED WLN-DE)" userId="1be7a072-4164-461c-b9ed-ae3c5d97c1a8" providerId="ADAL" clId="{F3F7C3C5-44EF-4A47-931E-CECA9FA76D3D}" dt="2022-04-26T08:18:00.362" v="524" actId="1076"/>
          <ac:spMkLst>
            <pc:docMk/>
            <pc:sldMk cId="1264718432" sldId="282"/>
            <ac:spMk id="28" creationId="{CB4E93F5-D08D-4826-9844-068350E518F7}"/>
          </ac:spMkLst>
        </pc:spChg>
        <pc:spChg chg="mod">
          <ac:chgData name="Richerzhagen, Bjoern (T CED WLN-DE)" userId="1be7a072-4164-461c-b9ed-ae3c5d97c1a8" providerId="ADAL" clId="{F3F7C3C5-44EF-4A47-931E-CECA9FA76D3D}" dt="2022-04-26T08:18:00.362" v="524" actId="1076"/>
          <ac:spMkLst>
            <pc:docMk/>
            <pc:sldMk cId="1264718432" sldId="282"/>
            <ac:spMk id="29" creationId="{7199E3A5-D000-4896-A3EF-6C63C5044C16}"/>
          </ac:spMkLst>
        </pc:spChg>
        <pc:spChg chg="mod">
          <ac:chgData name="Richerzhagen, Bjoern (T CED WLN-DE)" userId="1be7a072-4164-461c-b9ed-ae3c5d97c1a8" providerId="ADAL" clId="{F3F7C3C5-44EF-4A47-931E-CECA9FA76D3D}" dt="2022-04-26T08:18:00.362" v="524" actId="1076"/>
          <ac:spMkLst>
            <pc:docMk/>
            <pc:sldMk cId="1264718432" sldId="282"/>
            <ac:spMk id="36" creationId="{0F594B0C-4B24-4BD6-946A-35F3E7B4FDC6}"/>
          </ac:spMkLst>
        </pc:spChg>
        <pc:spChg chg="mod">
          <ac:chgData name="Richerzhagen, Bjoern (T CED WLN-DE)" userId="1be7a072-4164-461c-b9ed-ae3c5d97c1a8" providerId="ADAL" clId="{F3F7C3C5-44EF-4A47-931E-CECA9FA76D3D}" dt="2022-04-26T08:18:00.362" v="524" actId="1076"/>
          <ac:spMkLst>
            <pc:docMk/>
            <pc:sldMk cId="1264718432" sldId="282"/>
            <ac:spMk id="37" creationId="{A6BCEDD7-DB08-46E2-A4F5-C10A9D905012}"/>
          </ac:spMkLst>
        </pc:spChg>
        <pc:spChg chg="mod">
          <ac:chgData name="Richerzhagen, Bjoern (T CED WLN-DE)" userId="1be7a072-4164-461c-b9ed-ae3c5d97c1a8" providerId="ADAL" clId="{F3F7C3C5-44EF-4A47-931E-CECA9FA76D3D}" dt="2022-04-26T08:18:00.362" v="524" actId="1076"/>
          <ac:spMkLst>
            <pc:docMk/>
            <pc:sldMk cId="1264718432" sldId="282"/>
            <ac:spMk id="43" creationId="{B9DE46B5-E0FC-40A7-8C8A-4B05F49BE1DD}"/>
          </ac:spMkLst>
        </pc:spChg>
        <pc:spChg chg="mod">
          <ac:chgData name="Richerzhagen, Bjoern (T CED WLN-DE)" userId="1be7a072-4164-461c-b9ed-ae3c5d97c1a8" providerId="ADAL" clId="{F3F7C3C5-44EF-4A47-931E-CECA9FA76D3D}" dt="2022-04-26T08:18:00.362" v="524" actId="1076"/>
          <ac:spMkLst>
            <pc:docMk/>
            <pc:sldMk cId="1264718432" sldId="282"/>
            <ac:spMk id="46" creationId="{EA04DA5E-26EF-4EE6-8727-F5FF59CAA573}"/>
          </ac:spMkLst>
        </pc:spChg>
        <pc:spChg chg="del">
          <ac:chgData name="Richerzhagen, Bjoern (T CED WLN-DE)" userId="1be7a072-4164-461c-b9ed-ae3c5d97c1a8" providerId="ADAL" clId="{F3F7C3C5-44EF-4A47-931E-CECA9FA76D3D}" dt="2022-04-26T08:17:24.177" v="493" actId="478"/>
          <ac:spMkLst>
            <pc:docMk/>
            <pc:sldMk cId="1264718432" sldId="282"/>
            <ac:spMk id="80" creationId="{294E344C-FD80-4F65-A914-A1EDD49F4365}"/>
          </ac:spMkLst>
        </pc:spChg>
        <pc:spChg chg="mod">
          <ac:chgData name="Richerzhagen, Bjoern (T CED WLN-DE)" userId="1be7a072-4164-461c-b9ed-ae3c5d97c1a8" providerId="ADAL" clId="{F3F7C3C5-44EF-4A47-931E-CECA9FA76D3D}" dt="2022-04-26T08:17:23.235" v="492" actId="6549"/>
          <ac:spMkLst>
            <pc:docMk/>
            <pc:sldMk cId="1264718432" sldId="282"/>
            <ac:spMk id="83" creationId="{0EE827DE-E2D4-4900-A745-950B8E7448FE}"/>
          </ac:spMkLst>
        </pc:spChg>
        <pc:spChg chg="mod">
          <ac:chgData name="Richerzhagen, Bjoern (T CED WLN-DE)" userId="1be7a072-4164-461c-b9ed-ae3c5d97c1a8" providerId="ADAL" clId="{F3F7C3C5-44EF-4A47-931E-CECA9FA76D3D}" dt="2022-04-26T08:18:00.362" v="524" actId="1076"/>
          <ac:spMkLst>
            <pc:docMk/>
            <pc:sldMk cId="1264718432" sldId="282"/>
            <ac:spMk id="97" creationId="{55732FF4-216D-45EB-875A-DB63B4FA50DB}"/>
          </ac:spMkLst>
        </pc:spChg>
        <pc:grpChg chg="del">
          <ac:chgData name="Richerzhagen, Bjoern (T CED WLN-DE)" userId="1be7a072-4164-461c-b9ed-ae3c5d97c1a8" providerId="ADAL" clId="{F3F7C3C5-44EF-4A47-931E-CECA9FA76D3D}" dt="2022-04-26T08:17:18.994" v="487" actId="478"/>
          <ac:grpSpMkLst>
            <pc:docMk/>
            <pc:sldMk cId="1264718432" sldId="282"/>
            <ac:grpSpMk id="24" creationId="{5C305CF7-7E06-46EE-96DA-BB2096F14C6F}"/>
          </ac:grpSpMkLst>
        </pc:grpChg>
        <pc:grpChg chg="del">
          <ac:chgData name="Richerzhagen, Bjoern (T CED WLN-DE)" userId="1be7a072-4164-461c-b9ed-ae3c5d97c1a8" providerId="ADAL" clId="{F3F7C3C5-44EF-4A47-931E-CECA9FA76D3D}" dt="2022-04-26T08:17:24.879" v="494" actId="478"/>
          <ac:grpSpMkLst>
            <pc:docMk/>
            <pc:sldMk cId="1264718432" sldId="282"/>
            <ac:grpSpMk id="81" creationId="{A40F6192-0469-4A12-8FBF-8EB85B656F45}"/>
          </ac:grpSpMkLst>
        </pc:grpChg>
        <pc:grpChg chg="del">
          <ac:chgData name="Richerzhagen, Bjoern (T CED WLN-DE)" userId="1be7a072-4164-461c-b9ed-ae3c5d97c1a8" providerId="ADAL" clId="{F3F7C3C5-44EF-4A47-931E-CECA9FA76D3D}" dt="2022-04-26T08:17:22.308" v="491" actId="478"/>
          <ac:grpSpMkLst>
            <pc:docMk/>
            <pc:sldMk cId="1264718432" sldId="282"/>
            <ac:grpSpMk id="86" creationId="{5CD0CE72-8A52-4A1A-A5AA-E21EA2E2B5D8}"/>
          </ac:grpSpMkLst>
        </pc:grpChg>
        <pc:picChg chg="mod">
          <ac:chgData name="Richerzhagen, Bjoern (T CED WLN-DE)" userId="1be7a072-4164-461c-b9ed-ae3c5d97c1a8" providerId="ADAL" clId="{F3F7C3C5-44EF-4A47-931E-CECA9FA76D3D}" dt="2022-04-26T08:18:00.362" v="524" actId="1076"/>
          <ac:picMkLst>
            <pc:docMk/>
            <pc:sldMk cId="1264718432" sldId="282"/>
            <ac:picMk id="45" creationId="{A7DED585-7C43-46D3-A80A-14C374B57BC8}"/>
          </ac:picMkLst>
        </pc:picChg>
        <pc:picChg chg="add mod">
          <ac:chgData name="Richerzhagen, Bjoern (T CED WLN-DE)" userId="1be7a072-4164-461c-b9ed-ae3c5d97c1a8" providerId="ADAL" clId="{F3F7C3C5-44EF-4A47-931E-CECA9FA76D3D}" dt="2022-04-26T12:51:23.139" v="3986" actId="1076"/>
          <ac:picMkLst>
            <pc:docMk/>
            <pc:sldMk cId="1264718432" sldId="282"/>
            <ac:picMk id="47" creationId="{0D8BEC8F-6CD4-4D72-B46A-A92D347E6BCD}"/>
          </ac:picMkLst>
        </pc:picChg>
        <pc:cxnChg chg="del">
          <ac:chgData name="Richerzhagen, Bjoern (T CED WLN-DE)" userId="1be7a072-4164-461c-b9ed-ae3c5d97c1a8" providerId="ADAL" clId="{F3F7C3C5-44EF-4A47-931E-CECA9FA76D3D}" dt="2022-04-26T08:17:19.792" v="488" actId="478"/>
          <ac:cxnSpMkLst>
            <pc:docMk/>
            <pc:sldMk cId="1264718432" sldId="282"/>
            <ac:cxnSpMk id="16" creationId="{89769479-CB9D-48FB-B164-CD7C861F998A}"/>
          </ac:cxnSpMkLst>
        </pc:cxnChg>
        <pc:cxnChg chg="del">
          <ac:chgData name="Richerzhagen, Bjoern (T CED WLN-DE)" userId="1be7a072-4164-461c-b9ed-ae3c5d97c1a8" providerId="ADAL" clId="{F3F7C3C5-44EF-4A47-931E-CECA9FA76D3D}" dt="2022-04-26T08:17:20.222" v="489" actId="478"/>
          <ac:cxnSpMkLst>
            <pc:docMk/>
            <pc:sldMk cId="1264718432" sldId="282"/>
            <ac:cxnSpMk id="17" creationId="{63A3192F-F55B-4757-8E01-08277C173E44}"/>
          </ac:cxnSpMkLst>
        </pc:cxnChg>
        <pc:cxnChg chg="mod">
          <ac:chgData name="Richerzhagen, Bjoern (T CED WLN-DE)" userId="1be7a072-4164-461c-b9ed-ae3c5d97c1a8" providerId="ADAL" clId="{F3F7C3C5-44EF-4A47-931E-CECA9FA76D3D}" dt="2022-04-26T08:18:00.362" v="524" actId="1076"/>
          <ac:cxnSpMkLst>
            <pc:docMk/>
            <pc:sldMk cId="1264718432" sldId="282"/>
            <ac:cxnSpMk id="39" creationId="{5DCB8449-898A-4C42-9710-8636210771FA}"/>
          </ac:cxnSpMkLst>
        </pc:cxnChg>
        <pc:cxnChg chg="mod">
          <ac:chgData name="Richerzhagen, Bjoern (T CED WLN-DE)" userId="1be7a072-4164-461c-b9ed-ae3c5d97c1a8" providerId="ADAL" clId="{F3F7C3C5-44EF-4A47-931E-CECA9FA76D3D}" dt="2022-04-26T08:18:00.362" v="524" actId="1076"/>
          <ac:cxnSpMkLst>
            <pc:docMk/>
            <pc:sldMk cId="1264718432" sldId="282"/>
            <ac:cxnSpMk id="41" creationId="{DF5810BA-978A-4112-8678-041F3AAEAC76}"/>
          </ac:cxnSpMkLst>
        </pc:cxnChg>
        <pc:cxnChg chg="mod">
          <ac:chgData name="Richerzhagen, Bjoern (T CED WLN-DE)" userId="1be7a072-4164-461c-b9ed-ae3c5d97c1a8" providerId="ADAL" clId="{F3F7C3C5-44EF-4A47-931E-CECA9FA76D3D}" dt="2022-04-26T08:18:00.362" v="524" actId="1076"/>
          <ac:cxnSpMkLst>
            <pc:docMk/>
            <pc:sldMk cId="1264718432" sldId="282"/>
            <ac:cxnSpMk id="44" creationId="{57FEDE7B-CACA-4D9C-90D3-A382381DF30F}"/>
          </ac:cxnSpMkLst>
        </pc:cxnChg>
        <pc:cxnChg chg="mod">
          <ac:chgData name="Richerzhagen, Bjoern (T CED WLN-DE)" userId="1be7a072-4164-461c-b9ed-ae3c5d97c1a8" providerId="ADAL" clId="{F3F7C3C5-44EF-4A47-931E-CECA9FA76D3D}" dt="2022-04-26T08:18:00.362" v="524" actId="1076"/>
          <ac:cxnSpMkLst>
            <pc:docMk/>
            <pc:sldMk cId="1264718432" sldId="282"/>
            <ac:cxnSpMk id="48" creationId="{BA9DD990-50BF-4926-8B78-A4753C860330}"/>
          </ac:cxnSpMkLst>
        </pc:cxnChg>
        <pc:cxnChg chg="mod">
          <ac:chgData name="Richerzhagen, Bjoern (T CED WLN-DE)" userId="1be7a072-4164-461c-b9ed-ae3c5d97c1a8" providerId="ADAL" clId="{F3F7C3C5-44EF-4A47-931E-CECA9FA76D3D}" dt="2022-04-26T08:18:00.362" v="524" actId="1076"/>
          <ac:cxnSpMkLst>
            <pc:docMk/>
            <pc:sldMk cId="1264718432" sldId="282"/>
            <ac:cxnSpMk id="51" creationId="{C6170100-750D-4200-BE64-9C6E1708AC02}"/>
          </ac:cxnSpMkLst>
        </pc:cxnChg>
        <pc:cxnChg chg="mod">
          <ac:chgData name="Richerzhagen, Bjoern (T CED WLN-DE)" userId="1be7a072-4164-461c-b9ed-ae3c5d97c1a8" providerId="ADAL" clId="{F3F7C3C5-44EF-4A47-931E-CECA9FA76D3D}" dt="2022-04-26T08:18:00.362" v="524" actId="1076"/>
          <ac:cxnSpMkLst>
            <pc:docMk/>
            <pc:sldMk cId="1264718432" sldId="282"/>
            <ac:cxnSpMk id="54" creationId="{E87B8501-A34B-486F-BD7A-0F843F3B8D73}"/>
          </ac:cxnSpMkLst>
        </pc:cxnChg>
        <pc:cxnChg chg="mod">
          <ac:chgData name="Richerzhagen, Bjoern (T CED WLN-DE)" userId="1be7a072-4164-461c-b9ed-ae3c5d97c1a8" providerId="ADAL" clId="{F3F7C3C5-44EF-4A47-931E-CECA9FA76D3D}" dt="2022-04-26T08:18:00.362" v="524" actId="1076"/>
          <ac:cxnSpMkLst>
            <pc:docMk/>
            <pc:sldMk cId="1264718432" sldId="282"/>
            <ac:cxnSpMk id="57" creationId="{A3DB4A0F-CB77-4093-A707-D0DB0B55B0FE}"/>
          </ac:cxnSpMkLst>
        </pc:cxnChg>
        <pc:cxnChg chg="mod">
          <ac:chgData name="Richerzhagen, Bjoern (T CED WLN-DE)" userId="1be7a072-4164-461c-b9ed-ae3c5d97c1a8" providerId="ADAL" clId="{F3F7C3C5-44EF-4A47-931E-CECA9FA76D3D}" dt="2022-04-26T08:18:00.362" v="524" actId="1076"/>
          <ac:cxnSpMkLst>
            <pc:docMk/>
            <pc:sldMk cId="1264718432" sldId="282"/>
            <ac:cxnSpMk id="60" creationId="{C0B9D80C-F4E6-460B-97C2-ABFAB7619EC0}"/>
          </ac:cxnSpMkLst>
        </pc:cxnChg>
        <pc:cxnChg chg="mod">
          <ac:chgData name="Richerzhagen, Bjoern (T CED WLN-DE)" userId="1be7a072-4164-461c-b9ed-ae3c5d97c1a8" providerId="ADAL" clId="{F3F7C3C5-44EF-4A47-931E-CECA9FA76D3D}" dt="2022-04-26T08:18:00.362" v="524" actId="1076"/>
          <ac:cxnSpMkLst>
            <pc:docMk/>
            <pc:sldMk cId="1264718432" sldId="282"/>
            <ac:cxnSpMk id="69" creationId="{15D00F5D-0D60-4F38-B930-4316BE01CA38}"/>
          </ac:cxnSpMkLst>
        </pc:cxnChg>
      </pc:sldChg>
      <pc:sldChg chg="addSp delSp modSp mod">
        <pc:chgData name="Richerzhagen, Bjoern (T CED WLN-DE)" userId="1be7a072-4164-461c-b9ed-ae3c5d97c1a8" providerId="ADAL" clId="{F3F7C3C5-44EF-4A47-931E-CECA9FA76D3D}" dt="2022-04-26T12:52:16.437" v="4002" actId="1076"/>
        <pc:sldMkLst>
          <pc:docMk/>
          <pc:sldMk cId="4059184984" sldId="284"/>
        </pc:sldMkLst>
        <pc:spChg chg="mod">
          <ac:chgData name="Richerzhagen, Bjoern (T CED WLN-DE)" userId="1be7a072-4164-461c-b9ed-ae3c5d97c1a8" providerId="ADAL" clId="{F3F7C3C5-44EF-4A47-931E-CECA9FA76D3D}" dt="2022-04-26T08:31:57.952" v="1175" actId="20577"/>
          <ac:spMkLst>
            <pc:docMk/>
            <pc:sldMk cId="4059184984" sldId="284"/>
            <ac:spMk id="4" creationId="{EDA2E8E9-22AB-4AD1-9C82-3D348D05D62E}"/>
          </ac:spMkLst>
        </pc:spChg>
        <pc:spChg chg="del">
          <ac:chgData name="Richerzhagen, Bjoern (T CED WLN-DE)" userId="1be7a072-4164-461c-b9ed-ae3c5d97c1a8" providerId="ADAL" clId="{F3F7C3C5-44EF-4A47-931E-CECA9FA76D3D}" dt="2022-04-26T08:15:47.500" v="464" actId="478"/>
          <ac:spMkLst>
            <pc:docMk/>
            <pc:sldMk cId="4059184984" sldId="284"/>
            <ac:spMk id="6" creationId="{39CF1D87-9599-4A41-A263-BC9C4B92FDAF}"/>
          </ac:spMkLst>
        </pc:spChg>
        <pc:spChg chg="mod">
          <ac:chgData name="Richerzhagen, Bjoern (T CED WLN-DE)" userId="1be7a072-4164-461c-b9ed-ae3c5d97c1a8" providerId="ADAL" clId="{F3F7C3C5-44EF-4A47-931E-CECA9FA76D3D}" dt="2022-04-26T08:15:57.569" v="466" actId="1076"/>
          <ac:spMkLst>
            <pc:docMk/>
            <pc:sldMk cId="4059184984" sldId="284"/>
            <ac:spMk id="7" creationId="{6A75DEAA-75BB-40AC-B7D2-AFB092943793}"/>
          </ac:spMkLst>
        </pc:spChg>
        <pc:spChg chg="del">
          <ac:chgData name="Richerzhagen, Bjoern (T CED WLN-DE)" userId="1be7a072-4164-461c-b9ed-ae3c5d97c1a8" providerId="ADAL" clId="{F3F7C3C5-44EF-4A47-931E-CECA9FA76D3D}" dt="2022-04-26T08:16:27.067" v="475" actId="478"/>
          <ac:spMkLst>
            <pc:docMk/>
            <pc:sldMk cId="4059184984" sldId="284"/>
            <ac:spMk id="9" creationId="{936F1348-EE86-4B87-9391-642A20E01B4E}"/>
          </ac:spMkLst>
        </pc:spChg>
        <pc:spChg chg="mod">
          <ac:chgData name="Richerzhagen, Bjoern (T CED WLN-DE)" userId="1be7a072-4164-461c-b9ed-ae3c5d97c1a8" providerId="ADAL" clId="{F3F7C3C5-44EF-4A47-931E-CECA9FA76D3D}" dt="2022-04-26T08:15:57.569" v="466" actId="1076"/>
          <ac:spMkLst>
            <pc:docMk/>
            <pc:sldMk cId="4059184984" sldId="284"/>
            <ac:spMk id="93" creationId="{4E19F4CB-A3B0-4953-86F2-B4049B53320E}"/>
          </ac:spMkLst>
        </pc:spChg>
        <pc:spChg chg="del">
          <ac:chgData name="Richerzhagen, Bjoern (T CED WLN-DE)" userId="1be7a072-4164-461c-b9ed-ae3c5d97c1a8" providerId="ADAL" clId="{F3F7C3C5-44EF-4A47-931E-CECA9FA76D3D}" dt="2022-04-26T08:15:51.413" v="465" actId="478"/>
          <ac:spMkLst>
            <pc:docMk/>
            <pc:sldMk cId="4059184984" sldId="284"/>
            <ac:spMk id="97" creationId="{100CEF1A-EEF0-4AF8-99BF-B0353B6FF6CD}"/>
          </ac:spMkLst>
        </pc:spChg>
        <pc:spChg chg="mod">
          <ac:chgData name="Richerzhagen, Bjoern (T CED WLN-DE)" userId="1be7a072-4164-461c-b9ed-ae3c5d97c1a8" providerId="ADAL" clId="{F3F7C3C5-44EF-4A47-931E-CECA9FA76D3D}" dt="2022-04-26T08:15:57.569" v="466" actId="1076"/>
          <ac:spMkLst>
            <pc:docMk/>
            <pc:sldMk cId="4059184984" sldId="284"/>
            <ac:spMk id="151" creationId="{781CE022-F77B-41F3-A920-6956CD092476}"/>
          </ac:spMkLst>
        </pc:spChg>
        <pc:grpChg chg="mod">
          <ac:chgData name="Richerzhagen, Bjoern (T CED WLN-DE)" userId="1be7a072-4164-461c-b9ed-ae3c5d97c1a8" providerId="ADAL" clId="{F3F7C3C5-44EF-4A47-931E-CECA9FA76D3D}" dt="2022-04-26T08:15:57.569" v="466" actId="1076"/>
          <ac:grpSpMkLst>
            <pc:docMk/>
            <pc:sldMk cId="4059184984" sldId="284"/>
            <ac:grpSpMk id="3" creationId="{0E53EB1A-AE19-47DF-B527-A4378161211A}"/>
          </ac:grpSpMkLst>
        </pc:grpChg>
        <pc:grpChg chg="del">
          <ac:chgData name="Richerzhagen, Bjoern (T CED WLN-DE)" userId="1be7a072-4164-461c-b9ed-ae3c5d97c1a8" providerId="ADAL" clId="{F3F7C3C5-44EF-4A47-931E-CECA9FA76D3D}" dt="2022-04-26T08:15:44.804" v="461" actId="478"/>
          <ac:grpSpMkLst>
            <pc:docMk/>
            <pc:sldMk cId="4059184984" sldId="284"/>
            <ac:grpSpMk id="24" creationId="{5C305CF7-7E06-46EE-96DA-BB2096F14C6F}"/>
          </ac:grpSpMkLst>
        </pc:grpChg>
        <pc:grpChg chg="del">
          <ac:chgData name="Richerzhagen, Bjoern (T CED WLN-DE)" userId="1be7a072-4164-461c-b9ed-ae3c5d97c1a8" providerId="ADAL" clId="{F3F7C3C5-44EF-4A47-931E-CECA9FA76D3D}" dt="2022-04-26T08:15:43.110" v="459" actId="478"/>
          <ac:grpSpMkLst>
            <pc:docMk/>
            <pc:sldMk cId="4059184984" sldId="284"/>
            <ac:grpSpMk id="133" creationId="{79FB731F-2D89-4DA9-9497-75DAF6C409D3}"/>
          </ac:grpSpMkLst>
        </pc:grpChg>
        <pc:grpChg chg="del">
          <ac:chgData name="Richerzhagen, Bjoern (T CED WLN-DE)" userId="1be7a072-4164-461c-b9ed-ae3c5d97c1a8" providerId="ADAL" clId="{F3F7C3C5-44EF-4A47-931E-CECA9FA76D3D}" dt="2022-04-26T08:15:43.865" v="460" actId="478"/>
          <ac:grpSpMkLst>
            <pc:docMk/>
            <pc:sldMk cId="4059184984" sldId="284"/>
            <ac:grpSpMk id="138" creationId="{5FA7A060-5C2B-4EB1-9A26-B3388BD2A4E9}"/>
          </ac:grpSpMkLst>
        </pc:grpChg>
        <pc:grpChg chg="del">
          <ac:chgData name="Richerzhagen, Bjoern (T CED WLN-DE)" userId="1be7a072-4164-461c-b9ed-ae3c5d97c1a8" providerId="ADAL" clId="{F3F7C3C5-44EF-4A47-931E-CECA9FA76D3D}" dt="2022-04-26T08:15:42.473" v="458" actId="478"/>
          <ac:grpSpMkLst>
            <pc:docMk/>
            <pc:sldMk cId="4059184984" sldId="284"/>
            <ac:grpSpMk id="143" creationId="{43C25412-BA6A-40AF-90ED-5238142FC8CD}"/>
          </ac:grpSpMkLst>
        </pc:grpChg>
        <pc:grpChg chg="mod">
          <ac:chgData name="Richerzhagen, Bjoern (T CED WLN-DE)" userId="1be7a072-4164-461c-b9ed-ae3c5d97c1a8" providerId="ADAL" clId="{F3F7C3C5-44EF-4A47-931E-CECA9FA76D3D}" dt="2022-04-26T08:15:57.569" v="466" actId="1076"/>
          <ac:grpSpMkLst>
            <pc:docMk/>
            <pc:sldMk cId="4059184984" sldId="284"/>
            <ac:grpSpMk id="150" creationId="{A1F93D14-14E7-4121-93E7-877A5FC7DB7A}"/>
          </ac:grpSpMkLst>
        </pc:grpChg>
        <pc:picChg chg="add mod">
          <ac:chgData name="Richerzhagen, Bjoern (T CED WLN-DE)" userId="1be7a072-4164-461c-b9ed-ae3c5d97c1a8" providerId="ADAL" clId="{F3F7C3C5-44EF-4A47-931E-CECA9FA76D3D}" dt="2022-04-26T12:52:16.437" v="4002" actId="1076"/>
          <ac:picMkLst>
            <pc:docMk/>
            <pc:sldMk cId="4059184984" sldId="284"/>
            <ac:picMk id="82" creationId="{E914B78E-1DC3-414D-8230-D96908706028}"/>
          </ac:picMkLst>
        </pc:picChg>
        <pc:picChg chg="add mod">
          <ac:chgData name="Richerzhagen, Bjoern (T CED WLN-DE)" userId="1be7a072-4164-461c-b9ed-ae3c5d97c1a8" providerId="ADAL" clId="{F3F7C3C5-44EF-4A47-931E-CECA9FA76D3D}" dt="2022-04-26T12:52:15.134" v="4001" actId="1076"/>
          <ac:picMkLst>
            <pc:docMk/>
            <pc:sldMk cId="4059184984" sldId="284"/>
            <ac:picMk id="83" creationId="{1E5CBFC6-AD9D-4055-B063-621893BF105C}"/>
          </ac:picMkLst>
        </pc:picChg>
        <pc:picChg chg="mod">
          <ac:chgData name="Richerzhagen, Bjoern (T CED WLN-DE)" userId="1be7a072-4164-461c-b9ed-ae3c5d97c1a8" providerId="ADAL" clId="{F3F7C3C5-44EF-4A47-931E-CECA9FA76D3D}" dt="2022-04-26T08:15:57.569" v="466" actId="1076"/>
          <ac:picMkLst>
            <pc:docMk/>
            <pc:sldMk cId="4059184984" sldId="284"/>
            <ac:picMk id="111" creationId="{98DCEBD8-CC19-4C2A-A0EA-7D5E2141BAEF}"/>
          </ac:picMkLst>
        </pc:picChg>
        <pc:picChg chg="mod">
          <ac:chgData name="Richerzhagen, Bjoern (T CED WLN-DE)" userId="1be7a072-4164-461c-b9ed-ae3c5d97c1a8" providerId="ADAL" clId="{F3F7C3C5-44EF-4A47-931E-CECA9FA76D3D}" dt="2022-04-26T08:15:57.569" v="466" actId="1076"/>
          <ac:picMkLst>
            <pc:docMk/>
            <pc:sldMk cId="4059184984" sldId="284"/>
            <ac:picMk id="157" creationId="{9487A8F5-0A4C-491C-87C5-2892C133A5F2}"/>
          </ac:picMkLst>
        </pc:picChg>
        <pc:picChg chg="mod">
          <ac:chgData name="Richerzhagen, Bjoern (T CED WLN-DE)" userId="1be7a072-4164-461c-b9ed-ae3c5d97c1a8" providerId="ADAL" clId="{F3F7C3C5-44EF-4A47-931E-CECA9FA76D3D}" dt="2022-04-26T08:15:57.569" v="466" actId="1076"/>
          <ac:picMkLst>
            <pc:docMk/>
            <pc:sldMk cId="4059184984" sldId="284"/>
            <ac:picMk id="162" creationId="{932EA548-B9A3-4DB5-AEDB-E7F5B037F6D5}"/>
          </ac:picMkLst>
        </pc:picChg>
        <pc:cxnChg chg="del">
          <ac:chgData name="Richerzhagen, Bjoern (T CED WLN-DE)" userId="1be7a072-4164-461c-b9ed-ae3c5d97c1a8" providerId="ADAL" clId="{F3F7C3C5-44EF-4A47-931E-CECA9FA76D3D}" dt="2022-04-26T08:15:45.559" v="462" actId="478"/>
          <ac:cxnSpMkLst>
            <pc:docMk/>
            <pc:sldMk cId="4059184984" sldId="284"/>
            <ac:cxnSpMk id="16" creationId="{89769479-CB9D-48FB-B164-CD7C861F998A}"/>
          </ac:cxnSpMkLst>
        </pc:cxnChg>
        <pc:cxnChg chg="del">
          <ac:chgData name="Richerzhagen, Bjoern (T CED WLN-DE)" userId="1be7a072-4164-461c-b9ed-ae3c5d97c1a8" providerId="ADAL" clId="{F3F7C3C5-44EF-4A47-931E-CECA9FA76D3D}" dt="2022-04-26T08:15:46.169" v="463" actId="478"/>
          <ac:cxnSpMkLst>
            <pc:docMk/>
            <pc:sldMk cId="4059184984" sldId="284"/>
            <ac:cxnSpMk id="17" creationId="{63A3192F-F55B-4757-8E01-08277C173E44}"/>
          </ac:cxnSpMkLst>
        </pc:cxnChg>
        <pc:cxnChg chg="mod">
          <ac:chgData name="Richerzhagen, Bjoern (T CED WLN-DE)" userId="1be7a072-4164-461c-b9ed-ae3c5d97c1a8" providerId="ADAL" clId="{F3F7C3C5-44EF-4A47-931E-CECA9FA76D3D}" dt="2022-04-26T08:15:57.569" v="466" actId="1076"/>
          <ac:cxnSpMkLst>
            <pc:docMk/>
            <pc:sldMk cId="4059184984" sldId="284"/>
            <ac:cxnSpMk id="113" creationId="{AEC1CDFF-6BC1-416F-B78A-9234067879B7}"/>
          </ac:cxnSpMkLst>
        </pc:cxnChg>
        <pc:cxnChg chg="mod">
          <ac:chgData name="Richerzhagen, Bjoern (T CED WLN-DE)" userId="1be7a072-4164-461c-b9ed-ae3c5d97c1a8" providerId="ADAL" clId="{F3F7C3C5-44EF-4A47-931E-CECA9FA76D3D}" dt="2022-04-26T08:15:57.569" v="466" actId="1076"/>
          <ac:cxnSpMkLst>
            <pc:docMk/>
            <pc:sldMk cId="4059184984" sldId="284"/>
            <ac:cxnSpMk id="114" creationId="{443DB871-309A-4717-B608-C87EA679D6A2}"/>
          </ac:cxnSpMkLst>
        </pc:cxnChg>
        <pc:cxnChg chg="mod">
          <ac:chgData name="Richerzhagen, Bjoern (T CED WLN-DE)" userId="1be7a072-4164-461c-b9ed-ae3c5d97c1a8" providerId="ADAL" clId="{F3F7C3C5-44EF-4A47-931E-CECA9FA76D3D}" dt="2022-04-26T08:15:57.569" v="466" actId="1076"/>
          <ac:cxnSpMkLst>
            <pc:docMk/>
            <pc:sldMk cId="4059184984" sldId="284"/>
            <ac:cxnSpMk id="118" creationId="{B1FCA41D-99B1-44A5-B50B-4FAF9E0D0FFD}"/>
          </ac:cxnSpMkLst>
        </pc:cxnChg>
        <pc:cxnChg chg="mod">
          <ac:chgData name="Richerzhagen, Bjoern (T CED WLN-DE)" userId="1be7a072-4164-461c-b9ed-ae3c5d97c1a8" providerId="ADAL" clId="{F3F7C3C5-44EF-4A47-931E-CECA9FA76D3D}" dt="2022-04-26T08:15:57.569" v="466" actId="1076"/>
          <ac:cxnSpMkLst>
            <pc:docMk/>
            <pc:sldMk cId="4059184984" sldId="284"/>
            <ac:cxnSpMk id="121" creationId="{A932FF1E-8606-4BED-BEEB-4244CEA3EF7A}"/>
          </ac:cxnSpMkLst>
        </pc:cxnChg>
        <pc:cxnChg chg="mod">
          <ac:chgData name="Richerzhagen, Bjoern (T CED WLN-DE)" userId="1be7a072-4164-461c-b9ed-ae3c5d97c1a8" providerId="ADAL" clId="{F3F7C3C5-44EF-4A47-931E-CECA9FA76D3D}" dt="2022-04-26T08:15:57.569" v="466" actId="1076"/>
          <ac:cxnSpMkLst>
            <pc:docMk/>
            <pc:sldMk cId="4059184984" sldId="284"/>
            <ac:cxnSpMk id="160" creationId="{8E5B9168-3D5E-494C-99F9-281C808DC71D}"/>
          </ac:cxnSpMkLst>
        </pc:cxnChg>
      </pc:sldChg>
      <pc:sldChg chg="addSp delSp modSp mod">
        <pc:chgData name="Richerzhagen, Bjoern (T CED WLN-DE)" userId="1be7a072-4164-461c-b9ed-ae3c5d97c1a8" providerId="ADAL" clId="{F3F7C3C5-44EF-4A47-931E-CECA9FA76D3D}" dt="2022-04-26T12:51:56.160" v="3996"/>
        <pc:sldMkLst>
          <pc:docMk/>
          <pc:sldMk cId="695611138" sldId="288"/>
        </pc:sldMkLst>
        <pc:spChg chg="mod">
          <ac:chgData name="Richerzhagen, Bjoern (T CED WLN-DE)" userId="1be7a072-4164-461c-b9ed-ae3c5d97c1a8" providerId="ADAL" clId="{F3F7C3C5-44EF-4A47-931E-CECA9FA76D3D}" dt="2022-04-26T08:31:46.490" v="1135" actId="20577"/>
          <ac:spMkLst>
            <pc:docMk/>
            <pc:sldMk cId="695611138" sldId="288"/>
            <ac:spMk id="4" creationId="{EDA2E8E9-22AB-4AD1-9C82-3D348D05D62E}"/>
          </ac:spMkLst>
        </pc:spChg>
        <pc:spChg chg="del">
          <ac:chgData name="Richerzhagen, Bjoern (T CED WLN-DE)" userId="1be7a072-4164-461c-b9ed-ae3c5d97c1a8" providerId="ADAL" clId="{F3F7C3C5-44EF-4A47-931E-CECA9FA76D3D}" dt="2022-04-26T08:16:20.379" v="473" actId="478"/>
          <ac:spMkLst>
            <pc:docMk/>
            <pc:sldMk cId="695611138" sldId="288"/>
            <ac:spMk id="6" creationId="{39CF1D87-9599-4A41-A263-BC9C4B92FDAF}"/>
          </ac:spMkLst>
        </pc:spChg>
        <pc:spChg chg="del">
          <ac:chgData name="Richerzhagen, Bjoern (T CED WLN-DE)" userId="1be7a072-4164-461c-b9ed-ae3c5d97c1a8" providerId="ADAL" clId="{F3F7C3C5-44EF-4A47-931E-CECA9FA76D3D}" dt="2022-04-26T08:16:21.414" v="474" actId="478"/>
          <ac:spMkLst>
            <pc:docMk/>
            <pc:sldMk cId="695611138" sldId="288"/>
            <ac:spMk id="9" creationId="{936F1348-EE86-4B87-9391-642A20E01B4E}"/>
          </ac:spMkLst>
        </pc:spChg>
        <pc:spChg chg="del">
          <ac:chgData name="Richerzhagen, Bjoern (T CED WLN-DE)" userId="1be7a072-4164-461c-b9ed-ae3c5d97c1a8" providerId="ADAL" clId="{F3F7C3C5-44EF-4A47-931E-CECA9FA76D3D}" dt="2022-04-26T08:16:06.674" v="467" actId="478"/>
          <ac:spMkLst>
            <pc:docMk/>
            <pc:sldMk cId="695611138" sldId="288"/>
            <ac:spMk id="12" creationId="{E33226AB-29D7-46FF-A288-FCECC311B807}"/>
          </ac:spMkLst>
        </pc:spChg>
        <pc:grpChg chg="del">
          <ac:chgData name="Richerzhagen, Bjoern (T CED WLN-DE)" userId="1be7a072-4164-461c-b9ed-ae3c5d97c1a8" providerId="ADAL" clId="{F3F7C3C5-44EF-4A47-931E-CECA9FA76D3D}" dt="2022-04-26T08:16:07.323" v="468" actId="478"/>
          <ac:grpSpMkLst>
            <pc:docMk/>
            <pc:sldMk cId="695611138" sldId="288"/>
            <ac:grpSpMk id="13" creationId="{59DBF396-29D5-4B8A-8F6A-F9D13C4D694E}"/>
          </ac:grpSpMkLst>
        </pc:grpChg>
        <pc:grpChg chg="del">
          <ac:chgData name="Richerzhagen, Bjoern (T CED WLN-DE)" userId="1be7a072-4164-461c-b9ed-ae3c5d97c1a8" providerId="ADAL" clId="{F3F7C3C5-44EF-4A47-931E-CECA9FA76D3D}" dt="2022-04-26T08:16:08.292" v="469" actId="478"/>
          <ac:grpSpMkLst>
            <pc:docMk/>
            <pc:sldMk cId="695611138" sldId="288"/>
            <ac:grpSpMk id="20" creationId="{E2DD2B49-7B84-4788-86B0-60C3C4C8D639}"/>
          </ac:grpSpMkLst>
        </pc:grpChg>
        <pc:grpChg chg="del">
          <ac:chgData name="Richerzhagen, Bjoern (T CED WLN-DE)" userId="1be7a072-4164-461c-b9ed-ae3c5d97c1a8" providerId="ADAL" clId="{F3F7C3C5-44EF-4A47-931E-CECA9FA76D3D}" dt="2022-04-26T08:16:17.928" v="470" actId="478"/>
          <ac:grpSpMkLst>
            <pc:docMk/>
            <pc:sldMk cId="695611138" sldId="288"/>
            <ac:grpSpMk id="24" creationId="{5C305CF7-7E06-46EE-96DA-BB2096F14C6F}"/>
          </ac:grpSpMkLst>
        </pc:grpChg>
        <pc:picChg chg="add mod">
          <ac:chgData name="Richerzhagen, Bjoern (T CED WLN-DE)" userId="1be7a072-4164-461c-b9ed-ae3c5d97c1a8" providerId="ADAL" clId="{F3F7C3C5-44EF-4A47-931E-CECA9FA76D3D}" dt="2022-04-26T12:51:56.160" v="3996"/>
          <ac:picMkLst>
            <pc:docMk/>
            <pc:sldMk cId="695611138" sldId="288"/>
            <ac:picMk id="30" creationId="{FB020A47-B503-4D1E-BF8E-C8F39535ECE1}"/>
          </ac:picMkLst>
        </pc:picChg>
        <pc:picChg chg="add mod">
          <ac:chgData name="Richerzhagen, Bjoern (T CED WLN-DE)" userId="1be7a072-4164-461c-b9ed-ae3c5d97c1a8" providerId="ADAL" clId="{F3F7C3C5-44EF-4A47-931E-CECA9FA76D3D}" dt="2022-04-26T12:51:56.160" v="3996"/>
          <ac:picMkLst>
            <pc:docMk/>
            <pc:sldMk cId="695611138" sldId="288"/>
            <ac:picMk id="31" creationId="{1327D555-03E8-4250-A6F2-F4011ABA26C9}"/>
          </ac:picMkLst>
        </pc:picChg>
        <pc:cxnChg chg="del">
          <ac:chgData name="Richerzhagen, Bjoern (T CED WLN-DE)" userId="1be7a072-4164-461c-b9ed-ae3c5d97c1a8" providerId="ADAL" clId="{F3F7C3C5-44EF-4A47-931E-CECA9FA76D3D}" dt="2022-04-26T08:16:18.672" v="471" actId="478"/>
          <ac:cxnSpMkLst>
            <pc:docMk/>
            <pc:sldMk cId="695611138" sldId="288"/>
            <ac:cxnSpMk id="16" creationId="{89769479-CB9D-48FB-B164-CD7C861F998A}"/>
          </ac:cxnSpMkLst>
        </pc:cxnChg>
        <pc:cxnChg chg="del">
          <ac:chgData name="Richerzhagen, Bjoern (T CED WLN-DE)" userId="1be7a072-4164-461c-b9ed-ae3c5d97c1a8" providerId="ADAL" clId="{F3F7C3C5-44EF-4A47-931E-CECA9FA76D3D}" dt="2022-04-26T08:16:19.174" v="472" actId="478"/>
          <ac:cxnSpMkLst>
            <pc:docMk/>
            <pc:sldMk cId="695611138" sldId="288"/>
            <ac:cxnSpMk id="17" creationId="{63A3192F-F55B-4757-8E01-08277C173E44}"/>
          </ac:cxnSpMkLst>
        </pc:cxnChg>
      </pc:sldChg>
      <pc:sldChg chg="del">
        <pc:chgData name="Richerzhagen, Bjoern (T CED WLN-DE)" userId="1be7a072-4164-461c-b9ed-ae3c5d97c1a8" providerId="ADAL" clId="{F3F7C3C5-44EF-4A47-931E-CECA9FA76D3D}" dt="2022-04-26T08:11:58.253" v="228" actId="47"/>
        <pc:sldMkLst>
          <pc:docMk/>
          <pc:sldMk cId="3980683368" sldId="2147373984"/>
        </pc:sldMkLst>
      </pc:sldChg>
      <pc:sldChg chg="del">
        <pc:chgData name="Richerzhagen, Bjoern (T CED WLN-DE)" userId="1be7a072-4164-461c-b9ed-ae3c5d97c1a8" providerId="ADAL" clId="{F3F7C3C5-44EF-4A47-931E-CECA9FA76D3D}" dt="2022-04-26T08:11:57.150" v="227" actId="47"/>
        <pc:sldMkLst>
          <pc:docMk/>
          <pc:sldMk cId="1540424334" sldId="2147374017"/>
        </pc:sldMkLst>
      </pc:sldChg>
      <pc:sldChg chg="delSp modSp mod">
        <pc:chgData name="Richerzhagen, Bjoern (T CED WLN-DE)" userId="1be7a072-4164-461c-b9ed-ae3c5d97c1a8" providerId="ADAL" clId="{F3F7C3C5-44EF-4A47-931E-CECA9FA76D3D}" dt="2022-04-26T08:31:13.181" v="1046" actId="20577"/>
        <pc:sldMkLst>
          <pc:docMk/>
          <pc:sldMk cId="1043292221" sldId="2147374020"/>
        </pc:sldMkLst>
        <pc:spChg chg="mod">
          <ac:chgData name="Richerzhagen, Bjoern (T CED WLN-DE)" userId="1be7a072-4164-461c-b9ed-ae3c5d97c1a8" providerId="ADAL" clId="{F3F7C3C5-44EF-4A47-931E-CECA9FA76D3D}" dt="2022-04-26T08:31:13.181" v="1046" actId="20577"/>
          <ac:spMkLst>
            <pc:docMk/>
            <pc:sldMk cId="1043292221" sldId="2147374020"/>
            <ac:spMk id="4" creationId="{EDA2E8E9-22AB-4AD1-9C82-3D348D05D62E}"/>
          </ac:spMkLst>
        </pc:spChg>
        <pc:spChg chg="del">
          <ac:chgData name="Richerzhagen, Bjoern (T CED WLN-DE)" userId="1be7a072-4164-461c-b9ed-ae3c5d97c1a8" providerId="ADAL" clId="{F3F7C3C5-44EF-4A47-931E-CECA9FA76D3D}" dt="2022-04-26T08:12:57.695" v="271" actId="478"/>
          <ac:spMkLst>
            <pc:docMk/>
            <pc:sldMk cId="1043292221" sldId="2147374020"/>
            <ac:spMk id="6" creationId="{39CF1D87-9599-4A41-A263-BC9C4B92FDAF}"/>
          </ac:spMkLst>
        </pc:spChg>
        <pc:spChg chg="del">
          <ac:chgData name="Richerzhagen, Bjoern (T CED WLN-DE)" userId="1be7a072-4164-461c-b9ed-ae3c5d97c1a8" providerId="ADAL" clId="{F3F7C3C5-44EF-4A47-931E-CECA9FA76D3D}" dt="2022-04-26T08:12:55.555" v="269" actId="478"/>
          <ac:spMkLst>
            <pc:docMk/>
            <pc:sldMk cId="1043292221" sldId="2147374020"/>
            <ac:spMk id="9" creationId="{936F1348-EE86-4B87-9391-642A20E01B4E}"/>
          </ac:spMkLst>
        </pc:spChg>
        <pc:grpChg chg="del">
          <ac:chgData name="Richerzhagen, Bjoern (T CED WLN-DE)" userId="1be7a072-4164-461c-b9ed-ae3c5d97c1a8" providerId="ADAL" clId="{F3F7C3C5-44EF-4A47-931E-CECA9FA76D3D}" dt="2022-04-26T08:12:56.890" v="270" actId="478"/>
          <ac:grpSpMkLst>
            <pc:docMk/>
            <pc:sldMk cId="1043292221" sldId="2147374020"/>
            <ac:grpSpMk id="24" creationId="{5C305CF7-7E06-46EE-96DA-BB2096F14C6F}"/>
          </ac:grpSpMkLst>
        </pc:grpChg>
        <pc:cxnChg chg="del">
          <ac:chgData name="Richerzhagen, Bjoern (T CED WLN-DE)" userId="1be7a072-4164-461c-b9ed-ae3c5d97c1a8" providerId="ADAL" clId="{F3F7C3C5-44EF-4A47-931E-CECA9FA76D3D}" dt="2022-04-26T08:12:58.245" v="272" actId="478"/>
          <ac:cxnSpMkLst>
            <pc:docMk/>
            <pc:sldMk cId="1043292221" sldId="2147374020"/>
            <ac:cxnSpMk id="16" creationId="{89769479-CB9D-48FB-B164-CD7C861F998A}"/>
          </ac:cxnSpMkLst>
        </pc:cxnChg>
        <pc:cxnChg chg="del">
          <ac:chgData name="Richerzhagen, Bjoern (T CED WLN-DE)" userId="1be7a072-4164-461c-b9ed-ae3c5d97c1a8" providerId="ADAL" clId="{F3F7C3C5-44EF-4A47-931E-CECA9FA76D3D}" dt="2022-04-26T08:12:58.803" v="273" actId="478"/>
          <ac:cxnSpMkLst>
            <pc:docMk/>
            <pc:sldMk cId="1043292221" sldId="2147374020"/>
            <ac:cxnSpMk id="17" creationId="{63A3192F-F55B-4757-8E01-08277C173E44}"/>
          </ac:cxnSpMkLst>
        </pc:cxnChg>
      </pc:sldChg>
      <pc:sldChg chg="del">
        <pc:chgData name="Richerzhagen, Bjoern (T CED WLN-DE)" userId="1be7a072-4164-461c-b9ed-ae3c5d97c1a8" providerId="ADAL" clId="{F3F7C3C5-44EF-4A47-931E-CECA9FA76D3D}" dt="2022-04-26T08:13:48.930" v="337" actId="47"/>
        <pc:sldMkLst>
          <pc:docMk/>
          <pc:sldMk cId="2074864077" sldId="2147374022"/>
        </pc:sldMkLst>
      </pc:sldChg>
      <pc:sldChg chg="del">
        <pc:chgData name="Richerzhagen, Bjoern (T CED WLN-DE)" userId="1be7a072-4164-461c-b9ed-ae3c5d97c1a8" providerId="ADAL" clId="{F3F7C3C5-44EF-4A47-931E-CECA9FA76D3D}" dt="2022-04-26T08:11:59.286" v="229" actId="47"/>
        <pc:sldMkLst>
          <pc:docMk/>
          <pc:sldMk cId="2227989475" sldId="2147374028"/>
        </pc:sldMkLst>
      </pc:sldChg>
      <pc:sldChg chg="del">
        <pc:chgData name="Richerzhagen, Bjoern (T CED WLN-DE)" userId="1be7a072-4164-461c-b9ed-ae3c5d97c1a8" providerId="ADAL" clId="{F3F7C3C5-44EF-4A47-931E-CECA9FA76D3D}" dt="2022-04-26T08:20:08.218" v="565" actId="47"/>
        <pc:sldMkLst>
          <pc:docMk/>
          <pc:sldMk cId="2924548950" sldId="2147374029"/>
        </pc:sldMkLst>
      </pc:sldChg>
      <pc:sldChg chg="del">
        <pc:chgData name="Richerzhagen, Bjoern (T CED WLN-DE)" userId="1be7a072-4164-461c-b9ed-ae3c5d97c1a8" providerId="ADAL" clId="{F3F7C3C5-44EF-4A47-931E-CECA9FA76D3D}" dt="2022-04-26T08:20:09.431" v="566" actId="47"/>
        <pc:sldMkLst>
          <pc:docMk/>
          <pc:sldMk cId="3875107212" sldId="2147374030"/>
        </pc:sldMkLst>
      </pc:sldChg>
      <pc:sldChg chg="del">
        <pc:chgData name="Richerzhagen, Bjoern (T CED WLN-DE)" userId="1be7a072-4164-461c-b9ed-ae3c5d97c1a8" providerId="ADAL" clId="{F3F7C3C5-44EF-4A47-931E-CECA9FA76D3D}" dt="2022-04-26T08:20:11.776" v="567" actId="47"/>
        <pc:sldMkLst>
          <pc:docMk/>
          <pc:sldMk cId="3982930373" sldId="2147374031"/>
        </pc:sldMkLst>
      </pc:sldChg>
      <pc:sldChg chg="addSp delSp modSp mod">
        <pc:chgData name="Richerzhagen, Bjoern (T CED WLN-DE)" userId="1be7a072-4164-461c-b9ed-ae3c5d97c1a8" providerId="ADAL" clId="{F3F7C3C5-44EF-4A47-931E-CECA9FA76D3D}" dt="2022-04-26T12:51:52.302" v="3995" actId="1076"/>
        <pc:sldMkLst>
          <pc:docMk/>
          <pc:sldMk cId="728633151" sldId="2147374034"/>
        </pc:sldMkLst>
        <pc:spChg chg="mod">
          <ac:chgData name="Richerzhagen, Bjoern (T CED WLN-DE)" userId="1be7a072-4164-461c-b9ed-ae3c5d97c1a8" providerId="ADAL" clId="{F3F7C3C5-44EF-4A47-931E-CECA9FA76D3D}" dt="2022-04-26T08:16:39.161" v="479" actId="1076"/>
          <ac:spMkLst>
            <pc:docMk/>
            <pc:sldMk cId="728633151" sldId="2147374034"/>
            <ac:spMk id="2" creationId="{1B20887F-E360-44F3-A4C2-644CC45F0B9F}"/>
          </ac:spMkLst>
        </pc:spChg>
        <pc:spChg chg="mod">
          <ac:chgData name="Richerzhagen, Bjoern (T CED WLN-DE)" userId="1be7a072-4164-461c-b9ed-ae3c5d97c1a8" providerId="ADAL" clId="{F3F7C3C5-44EF-4A47-931E-CECA9FA76D3D}" dt="2022-04-26T08:16:39.161" v="479" actId="1076"/>
          <ac:spMkLst>
            <pc:docMk/>
            <pc:sldMk cId="728633151" sldId="2147374034"/>
            <ac:spMk id="3" creationId="{751085E2-52CC-468A-BE75-0845E2753D2D}"/>
          </ac:spMkLst>
        </pc:spChg>
        <pc:spChg chg="mod">
          <ac:chgData name="Richerzhagen, Bjoern (T CED WLN-DE)" userId="1be7a072-4164-461c-b9ed-ae3c5d97c1a8" providerId="ADAL" clId="{F3F7C3C5-44EF-4A47-931E-CECA9FA76D3D}" dt="2022-04-26T08:31:36.132" v="1093" actId="20577"/>
          <ac:spMkLst>
            <pc:docMk/>
            <pc:sldMk cId="728633151" sldId="2147374034"/>
            <ac:spMk id="4" creationId="{EDA2E8E9-22AB-4AD1-9C82-3D348D05D62E}"/>
          </ac:spMkLst>
        </pc:spChg>
        <pc:spChg chg="del">
          <ac:chgData name="Richerzhagen, Bjoern (T CED WLN-DE)" userId="1be7a072-4164-461c-b9ed-ae3c5d97c1a8" providerId="ADAL" clId="{F3F7C3C5-44EF-4A47-931E-CECA9FA76D3D}" dt="2022-04-26T08:16:59.706" v="485" actId="478"/>
          <ac:spMkLst>
            <pc:docMk/>
            <pc:sldMk cId="728633151" sldId="2147374034"/>
            <ac:spMk id="6" creationId="{39CF1D87-9599-4A41-A263-BC9C4B92FDAF}"/>
          </ac:spMkLst>
        </pc:spChg>
        <pc:spChg chg="del">
          <ac:chgData name="Richerzhagen, Bjoern (T CED WLN-DE)" userId="1be7a072-4164-461c-b9ed-ae3c5d97c1a8" providerId="ADAL" clId="{F3F7C3C5-44EF-4A47-931E-CECA9FA76D3D}" dt="2022-04-26T08:16:56.820" v="481" actId="478"/>
          <ac:spMkLst>
            <pc:docMk/>
            <pc:sldMk cId="728633151" sldId="2147374034"/>
            <ac:spMk id="9" creationId="{936F1348-EE86-4B87-9391-642A20E01B4E}"/>
          </ac:spMkLst>
        </pc:spChg>
        <pc:spChg chg="del">
          <ac:chgData name="Richerzhagen, Bjoern (T CED WLN-DE)" userId="1be7a072-4164-461c-b9ed-ae3c5d97c1a8" providerId="ADAL" clId="{F3F7C3C5-44EF-4A47-931E-CECA9FA76D3D}" dt="2022-04-26T08:16:32.575" v="476" actId="478"/>
          <ac:spMkLst>
            <pc:docMk/>
            <pc:sldMk cId="728633151" sldId="2147374034"/>
            <ac:spMk id="12" creationId="{E33226AB-29D7-46FF-A288-FCECC311B807}"/>
          </ac:spMkLst>
        </pc:spChg>
        <pc:spChg chg="mod">
          <ac:chgData name="Richerzhagen, Bjoern (T CED WLN-DE)" userId="1be7a072-4164-461c-b9ed-ae3c5d97c1a8" providerId="ADAL" clId="{F3F7C3C5-44EF-4A47-931E-CECA9FA76D3D}" dt="2022-04-26T08:16:39.161" v="479" actId="1076"/>
          <ac:spMkLst>
            <pc:docMk/>
            <pc:sldMk cId="728633151" sldId="2147374034"/>
            <ac:spMk id="30" creationId="{C17F07FA-C77E-4C10-BD7B-4F900C2A3FD2}"/>
          </ac:spMkLst>
        </pc:spChg>
        <pc:spChg chg="mod">
          <ac:chgData name="Richerzhagen, Bjoern (T CED WLN-DE)" userId="1be7a072-4164-461c-b9ed-ae3c5d97c1a8" providerId="ADAL" clId="{F3F7C3C5-44EF-4A47-931E-CECA9FA76D3D}" dt="2022-04-26T08:16:39.161" v="479" actId="1076"/>
          <ac:spMkLst>
            <pc:docMk/>
            <pc:sldMk cId="728633151" sldId="2147374034"/>
            <ac:spMk id="31" creationId="{C57F25DD-7F2F-4397-ABFF-7FCDFA8C088D}"/>
          </ac:spMkLst>
        </pc:spChg>
        <pc:spChg chg="mod">
          <ac:chgData name="Richerzhagen, Bjoern (T CED WLN-DE)" userId="1be7a072-4164-461c-b9ed-ae3c5d97c1a8" providerId="ADAL" clId="{F3F7C3C5-44EF-4A47-931E-CECA9FA76D3D}" dt="2022-04-26T08:16:39.161" v="479" actId="1076"/>
          <ac:spMkLst>
            <pc:docMk/>
            <pc:sldMk cId="728633151" sldId="2147374034"/>
            <ac:spMk id="33" creationId="{543C6272-B7C9-4333-8D3E-B1B0ACCB960A}"/>
          </ac:spMkLst>
        </pc:spChg>
        <pc:spChg chg="mod">
          <ac:chgData name="Richerzhagen, Bjoern (T CED WLN-DE)" userId="1be7a072-4164-461c-b9ed-ae3c5d97c1a8" providerId="ADAL" clId="{F3F7C3C5-44EF-4A47-931E-CECA9FA76D3D}" dt="2022-04-26T08:16:39.161" v="479" actId="1076"/>
          <ac:spMkLst>
            <pc:docMk/>
            <pc:sldMk cId="728633151" sldId="2147374034"/>
            <ac:spMk id="35" creationId="{B7CB5FEB-DB6E-4080-B26A-92D87427EF40}"/>
          </ac:spMkLst>
        </pc:spChg>
        <pc:spChg chg="mod">
          <ac:chgData name="Richerzhagen, Bjoern (T CED WLN-DE)" userId="1be7a072-4164-461c-b9ed-ae3c5d97c1a8" providerId="ADAL" clId="{F3F7C3C5-44EF-4A47-931E-CECA9FA76D3D}" dt="2022-04-26T08:16:39.161" v="479" actId="1076"/>
          <ac:spMkLst>
            <pc:docMk/>
            <pc:sldMk cId="728633151" sldId="2147374034"/>
            <ac:spMk id="37" creationId="{D0847FBF-93E5-488D-84D3-F4760D53AC03}"/>
          </ac:spMkLst>
        </pc:spChg>
        <pc:spChg chg="mod">
          <ac:chgData name="Richerzhagen, Bjoern (T CED WLN-DE)" userId="1be7a072-4164-461c-b9ed-ae3c5d97c1a8" providerId="ADAL" clId="{F3F7C3C5-44EF-4A47-931E-CECA9FA76D3D}" dt="2022-04-26T08:16:39.161" v="479" actId="1076"/>
          <ac:spMkLst>
            <pc:docMk/>
            <pc:sldMk cId="728633151" sldId="2147374034"/>
            <ac:spMk id="39" creationId="{5DA8DD1D-9EB0-4EBF-9BCE-4CA4FBAB17CC}"/>
          </ac:spMkLst>
        </pc:spChg>
        <pc:spChg chg="mod">
          <ac:chgData name="Richerzhagen, Bjoern (T CED WLN-DE)" userId="1be7a072-4164-461c-b9ed-ae3c5d97c1a8" providerId="ADAL" clId="{F3F7C3C5-44EF-4A47-931E-CECA9FA76D3D}" dt="2022-04-26T08:16:39.161" v="479" actId="1076"/>
          <ac:spMkLst>
            <pc:docMk/>
            <pc:sldMk cId="728633151" sldId="2147374034"/>
            <ac:spMk id="40" creationId="{087B35F8-8733-4B83-8CA3-5E44F2CB937B}"/>
          </ac:spMkLst>
        </pc:spChg>
        <pc:spChg chg="mod">
          <ac:chgData name="Richerzhagen, Bjoern (T CED WLN-DE)" userId="1be7a072-4164-461c-b9ed-ae3c5d97c1a8" providerId="ADAL" clId="{F3F7C3C5-44EF-4A47-931E-CECA9FA76D3D}" dt="2022-04-26T08:16:46.368" v="480" actId="207"/>
          <ac:spMkLst>
            <pc:docMk/>
            <pc:sldMk cId="728633151" sldId="2147374034"/>
            <ac:spMk id="41" creationId="{2C6D11D7-8957-40C6-B94D-28BEE2FA94C7}"/>
          </ac:spMkLst>
        </pc:spChg>
        <pc:spChg chg="mod">
          <ac:chgData name="Richerzhagen, Bjoern (T CED WLN-DE)" userId="1be7a072-4164-461c-b9ed-ae3c5d97c1a8" providerId="ADAL" clId="{F3F7C3C5-44EF-4A47-931E-CECA9FA76D3D}" dt="2022-04-26T08:16:39.161" v="479" actId="1076"/>
          <ac:spMkLst>
            <pc:docMk/>
            <pc:sldMk cId="728633151" sldId="2147374034"/>
            <ac:spMk id="42" creationId="{776A3C5A-4963-4995-8D15-E2BE62753C02}"/>
          </ac:spMkLst>
        </pc:spChg>
        <pc:grpChg chg="mod">
          <ac:chgData name="Richerzhagen, Bjoern (T CED WLN-DE)" userId="1be7a072-4164-461c-b9ed-ae3c5d97c1a8" providerId="ADAL" clId="{F3F7C3C5-44EF-4A47-931E-CECA9FA76D3D}" dt="2022-04-26T08:16:39.161" v="479" actId="1076"/>
          <ac:grpSpMkLst>
            <pc:docMk/>
            <pc:sldMk cId="728633151" sldId="2147374034"/>
            <ac:grpSpMk id="10" creationId="{F352C06D-A508-4A4D-9D9E-6916D599C7E3}"/>
          </ac:grpSpMkLst>
        </pc:grpChg>
        <pc:grpChg chg="del">
          <ac:chgData name="Richerzhagen, Bjoern (T CED WLN-DE)" userId="1be7a072-4164-461c-b9ed-ae3c5d97c1a8" providerId="ADAL" clId="{F3F7C3C5-44EF-4A47-931E-CECA9FA76D3D}" dt="2022-04-26T08:16:33.206" v="477" actId="478"/>
          <ac:grpSpMkLst>
            <pc:docMk/>
            <pc:sldMk cId="728633151" sldId="2147374034"/>
            <ac:grpSpMk id="13" creationId="{59DBF396-29D5-4B8A-8F6A-F9D13C4D694E}"/>
          </ac:grpSpMkLst>
        </pc:grpChg>
        <pc:grpChg chg="del">
          <ac:chgData name="Richerzhagen, Bjoern (T CED WLN-DE)" userId="1be7a072-4164-461c-b9ed-ae3c5d97c1a8" providerId="ADAL" clId="{F3F7C3C5-44EF-4A47-931E-CECA9FA76D3D}" dt="2022-04-26T08:16:34.146" v="478" actId="478"/>
          <ac:grpSpMkLst>
            <pc:docMk/>
            <pc:sldMk cId="728633151" sldId="2147374034"/>
            <ac:grpSpMk id="20" creationId="{E2DD2B49-7B84-4788-86B0-60C3C4C8D639}"/>
          </ac:grpSpMkLst>
        </pc:grpChg>
        <pc:grpChg chg="del">
          <ac:chgData name="Richerzhagen, Bjoern (T CED WLN-DE)" userId="1be7a072-4164-461c-b9ed-ae3c5d97c1a8" providerId="ADAL" clId="{F3F7C3C5-44EF-4A47-931E-CECA9FA76D3D}" dt="2022-04-26T08:16:58.116" v="483" actId="478"/>
          <ac:grpSpMkLst>
            <pc:docMk/>
            <pc:sldMk cId="728633151" sldId="2147374034"/>
            <ac:grpSpMk id="24" creationId="{5C305CF7-7E06-46EE-96DA-BB2096F14C6F}"/>
          </ac:grpSpMkLst>
        </pc:grpChg>
        <pc:picChg chg="mod">
          <ac:chgData name="Richerzhagen, Bjoern (T CED WLN-DE)" userId="1be7a072-4164-461c-b9ed-ae3c5d97c1a8" providerId="ADAL" clId="{F3F7C3C5-44EF-4A47-931E-CECA9FA76D3D}" dt="2022-04-26T08:16:39.161" v="479" actId="1076"/>
          <ac:picMkLst>
            <pc:docMk/>
            <pc:sldMk cId="728633151" sldId="2147374034"/>
            <ac:picMk id="32" creationId="{E2D99ECC-DBD6-4F3E-9E91-FE074A887E3F}"/>
          </ac:picMkLst>
        </pc:picChg>
        <pc:picChg chg="mod">
          <ac:chgData name="Richerzhagen, Bjoern (T CED WLN-DE)" userId="1be7a072-4164-461c-b9ed-ae3c5d97c1a8" providerId="ADAL" clId="{F3F7C3C5-44EF-4A47-931E-CECA9FA76D3D}" dt="2022-04-26T08:16:39.161" v="479" actId="1076"/>
          <ac:picMkLst>
            <pc:docMk/>
            <pc:sldMk cId="728633151" sldId="2147374034"/>
            <ac:picMk id="34" creationId="{64CCA226-8BC7-45AB-A7C0-359D362B12C6}"/>
          </ac:picMkLst>
        </pc:picChg>
        <pc:picChg chg="mod">
          <ac:chgData name="Richerzhagen, Bjoern (T CED WLN-DE)" userId="1be7a072-4164-461c-b9ed-ae3c5d97c1a8" providerId="ADAL" clId="{F3F7C3C5-44EF-4A47-931E-CECA9FA76D3D}" dt="2022-04-26T08:16:39.161" v="479" actId="1076"/>
          <ac:picMkLst>
            <pc:docMk/>
            <pc:sldMk cId="728633151" sldId="2147374034"/>
            <ac:picMk id="36" creationId="{A593625B-E2B6-4D94-8845-9C1AAA1052FE}"/>
          </ac:picMkLst>
        </pc:picChg>
        <pc:picChg chg="mod">
          <ac:chgData name="Richerzhagen, Bjoern (T CED WLN-DE)" userId="1be7a072-4164-461c-b9ed-ae3c5d97c1a8" providerId="ADAL" clId="{F3F7C3C5-44EF-4A47-931E-CECA9FA76D3D}" dt="2022-04-26T08:16:39.161" v="479" actId="1076"/>
          <ac:picMkLst>
            <pc:docMk/>
            <pc:sldMk cId="728633151" sldId="2147374034"/>
            <ac:picMk id="38" creationId="{1ED90986-E050-4E84-806B-6B0B6328FC85}"/>
          </ac:picMkLst>
        </pc:picChg>
        <pc:picChg chg="mod">
          <ac:chgData name="Richerzhagen, Bjoern (T CED WLN-DE)" userId="1be7a072-4164-461c-b9ed-ae3c5d97c1a8" providerId="ADAL" clId="{F3F7C3C5-44EF-4A47-931E-CECA9FA76D3D}" dt="2022-04-26T08:16:39.161" v="479" actId="1076"/>
          <ac:picMkLst>
            <pc:docMk/>
            <pc:sldMk cId="728633151" sldId="2147374034"/>
            <ac:picMk id="45" creationId="{BE750DA0-A0C4-4F8E-BF97-403C926247C4}"/>
          </ac:picMkLst>
        </pc:picChg>
        <pc:picChg chg="add mod">
          <ac:chgData name="Richerzhagen, Bjoern (T CED WLN-DE)" userId="1be7a072-4164-461c-b9ed-ae3c5d97c1a8" providerId="ADAL" clId="{F3F7C3C5-44EF-4A47-931E-CECA9FA76D3D}" dt="2022-04-26T12:51:50.521" v="3994" actId="1076"/>
          <ac:picMkLst>
            <pc:docMk/>
            <pc:sldMk cId="728633151" sldId="2147374034"/>
            <ac:picMk id="46" creationId="{B7640DB6-20F2-4FD4-A8CA-9247A4ED2A31}"/>
          </ac:picMkLst>
        </pc:picChg>
        <pc:picChg chg="add mod">
          <ac:chgData name="Richerzhagen, Bjoern (T CED WLN-DE)" userId="1be7a072-4164-461c-b9ed-ae3c5d97c1a8" providerId="ADAL" clId="{F3F7C3C5-44EF-4A47-931E-CECA9FA76D3D}" dt="2022-04-26T12:51:52.302" v="3995" actId="1076"/>
          <ac:picMkLst>
            <pc:docMk/>
            <pc:sldMk cId="728633151" sldId="2147374034"/>
            <ac:picMk id="47" creationId="{11F7BB9A-BC70-4BE9-B10D-C151C6179E14}"/>
          </ac:picMkLst>
        </pc:picChg>
        <pc:cxnChg chg="mod">
          <ac:chgData name="Richerzhagen, Bjoern (T CED WLN-DE)" userId="1be7a072-4164-461c-b9ed-ae3c5d97c1a8" providerId="ADAL" clId="{F3F7C3C5-44EF-4A47-931E-CECA9FA76D3D}" dt="2022-04-26T08:16:39.161" v="479" actId="1076"/>
          <ac:cxnSpMkLst>
            <pc:docMk/>
            <pc:sldMk cId="728633151" sldId="2147374034"/>
            <ac:cxnSpMk id="8" creationId="{FB023C42-773B-47AE-9048-238C596B4977}"/>
          </ac:cxnSpMkLst>
        </pc:cxnChg>
        <pc:cxnChg chg="del">
          <ac:chgData name="Richerzhagen, Bjoern (T CED WLN-DE)" userId="1be7a072-4164-461c-b9ed-ae3c5d97c1a8" providerId="ADAL" clId="{F3F7C3C5-44EF-4A47-931E-CECA9FA76D3D}" dt="2022-04-26T08:16:57.617" v="482" actId="478"/>
          <ac:cxnSpMkLst>
            <pc:docMk/>
            <pc:sldMk cId="728633151" sldId="2147374034"/>
            <ac:cxnSpMk id="16" creationId="{89769479-CB9D-48FB-B164-CD7C861F998A}"/>
          </ac:cxnSpMkLst>
        </pc:cxnChg>
        <pc:cxnChg chg="del">
          <ac:chgData name="Richerzhagen, Bjoern (T CED WLN-DE)" userId="1be7a072-4164-461c-b9ed-ae3c5d97c1a8" providerId="ADAL" clId="{F3F7C3C5-44EF-4A47-931E-CECA9FA76D3D}" dt="2022-04-26T08:16:58.654" v="484" actId="478"/>
          <ac:cxnSpMkLst>
            <pc:docMk/>
            <pc:sldMk cId="728633151" sldId="2147374034"/>
            <ac:cxnSpMk id="17" creationId="{63A3192F-F55B-4757-8E01-08277C173E44}"/>
          </ac:cxnSpMkLst>
        </pc:cxnChg>
      </pc:sldChg>
      <pc:sldChg chg="delSp del mod">
        <pc:chgData name="Richerzhagen, Bjoern (T CED WLN-DE)" userId="1be7a072-4164-461c-b9ed-ae3c5d97c1a8" providerId="ADAL" clId="{F3F7C3C5-44EF-4A47-931E-CECA9FA76D3D}" dt="2022-04-26T08:42:05.752" v="1579" actId="47"/>
        <pc:sldMkLst>
          <pc:docMk/>
          <pc:sldMk cId="3992377790" sldId="2147374035"/>
        </pc:sldMkLst>
        <pc:grpChg chg="del">
          <ac:chgData name="Richerzhagen, Bjoern (T CED WLN-DE)" userId="1be7a072-4164-461c-b9ed-ae3c5d97c1a8" providerId="ADAL" clId="{F3F7C3C5-44EF-4A47-931E-CECA9FA76D3D}" dt="2022-04-26T08:29:33.174" v="1039" actId="478"/>
          <ac:grpSpMkLst>
            <pc:docMk/>
            <pc:sldMk cId="3992377790" sldId="2147374035"/>
            <ac:grpSpMk id="8" creationId="{8DB24E4D-04AC-43A7-95DA-5635E8022034}"/>
          </ac:grpSpMkLst>
        </pc:grpChg>
        <pc:grpChg chg="del">
          <ac:chgData name="Richerzhagen, Bjoern (T CED WLN-DE)" userId="1be7a072-4164-461c-b9ed-ae3c5d97c1a8" providerId="ADAL" clId="{F3F7C3C5-44EF-4A47-931E-CECA9FA76D3D}" dt="2022-04-26T08:29:34.310" v="1040" actId="478"/>
          <ac:grpSpMkLst>
            <pc:docMk/>
            <pc:sldMk cId="3992377790" sldId="2147374035"/>
            <ac:grpSpMk id="43" creationId="{A87CC914-1408-4A0C-B5BC-9C08C44CAC54}"/>
          </ac:grpSpMkLst>
        </pc:grpChg>
        <pc:grpChg chg="del">
          <ac:chgData name="Richerzhagen, Bjoern (T CED WLN-DE)" userId="1be7a072-4164-461c-b9ed-ae3c5d97c1a8" providerId="ADAL" clId="{F3F7C3C5-44EF-4A47-931E-CECA9FA76D3D}" dt="2022-04-26T08:29:35.674" v="1041" actId="478"/>
          <ac:grpSpMkLst>
            <pc:docMk/>
            <pc:sldMk cId="3992377790" sldId="2147374035"/>
            <ac:grpSpMk id="50" creationId="{965E52EA-3B46-42CE-B422-E6F19B19743D}"/>
          </ac:grpSpMkLst>
        </pc:grpChg>
        <pc:grpChg chg="del">
          <ac:chgData name="Richerzhagen, Bjoern (T CED WLN-DE)" userId="1be7a072-4164-461c-b9ed-ae3c5d97c1a8" providerId="ADAL" clId="{F3F7C3C5-44EF-4A47-931E-CECA9FA76D3D}" dt="2022-04-26T08:29:36.396" v="1042" actId="478"/>
          <ac:grpSpMkLst>
            <pc:docMk/>
            <pc:sldMk cId="3992377790" sldId="2147374035"/>
            <ac:grpSpMk id="57" creationId="{59F9EC03-97BA-4EE1-8E6F-BDD77994FCDA}"/>
          </ac:grpSpMkLst>
        </pc:grpChg>
      </pc:sldChg>
      <pc:sldChg chg="addSp delSp modSp mod">
        <pc:chgData name="Richerzhagen, Bjoern (T CED WLN-DE)" userId="1be7a072-4164-461c-b9ed-ae3c5d97c1a8" providerId="ADAL" clId="{F3F7C3C5-44EF-4A47-931E-CECA9FA76D3D}" dt="2022-04-26T11:17:34.887" v="3209" actId="114"/>
        <pc:sldMkLst>
          <pc:docMk/>
          <pc:sldMk cId="439704998" sldId="2147374036"/>
        </pc:sldMkLst>
        <pc:spChg chg="mod">
          <ac:chgData name="Richerzhagen, Bjoern (T CED WLN-DE)" userId="1be7a072-4164-461c-b9ed-ae3c5d97c1a8" providerId="ADAL" clId="{F3F7C3C5-44EF-4A47-931E-CECA9FA76D3D}" dt="2022-04-26T08:27:55.502" v="918" actId="20577"/>
          <ac:spMkLst>
            <pc:docMk/>
            <pc:sldMk cId="439704998" sldId="2147374036"/>
            <ac:spMk id="2" creationId="{49C459C6-661F-4B9A-9E38-FB09392A77BF}"/>
          </ac:spMkLst>
        </pc:spChg>
        <pc:spChg chg="del">
          <ac:chgData name="Richerzhagen, Bjoern (T CED WLN-DE)" userId="1be7a072-4164-461c-b9ed-ae3c5d97c1a8" providerId="ADAL" clId="{F3F7C3C5-44EF-4A47-931E-CECA9FA76D3D}" dt="2022-04-26T08:25:33.056" v="757" actId="478"/>
          <ac:spMkLst>
            <pc:docMk/>
            <pc:sldMk cId="439704998" sldId="2147374036"/>
            <ac:spMk id="4" creationId="{09940B74-72CB-4BE4-A682-EF15DD289E83}"/>
          </ac:spMkLst>
        </pc:spChg>
        <pc:spChg chg="del">
          <ac:chgData name="Richerzhagen, Bjoern (T CED WLN-DE)" userId="1be7a072-4164-461c-b9ed-ae3c5d97c1a8" providerId="ADAL" clId="{F3F7C3C5-44EF-4A47-931E-CECA9FA76D3D}" dt="2022-04-26T08:25:33.056" v="757" actId="478"/>
          <ac:spMkLst>
            <pc:docMk/>
            <pc:sldMk cId="439704998" sldId="2147374036"/>
            <ac:spMk id="5" creationId="{60A3249E-72D6-4DCF-9D45-7553C00F73EB}"/>
          </ac:spMkLst>
        </pc:spChg>
        <pc:spChg chg="del">
          <ac:chgData name="Richerzhagen, Bjoern (T CED WLN-DE)" userId="1be7a072-4164-461c-b9ed-ae3c5d97c1a8" providerId="ADAL" clId="{F3F7C3C5-44EF-4A47-931E-CECA9FA76D3D}" dt="2022-04-26T08:25:33.056" v="757" actId="478"/>
          <ac:spMkLst>
            <pc:docMk/>
            <pc:sldMk cId="439704998" sldId="2147374036"/>
            <ac:spMk id="6" creationId="{F45C260A-5B11-4C0D-9811-D10CFF900C5C}"/>
          </ac:spMkLst>
        </pc:spChg>
        <pc:spChg chg="del">
          <ac:chgData name="Richerzhagen, Bjoern (T CED WLN-DE)" userId="1be7a072-4164-461c-b9ed-ae3c5d97c1a8" providerId="ADAL" clId="{F3F7C3C5-44EF-4A47-931E-CECA9FA76D3D}" dt="2022-04-26T08:25:33.056" v="757" actId="478"/>
          <ac:spMkLst>
            <pc:docMk/>
            <pc:sldMk cId="439704998" sldId="2147374036"/>
            <ac:spMk id="7" creationId="{CC8C4890-4DEA-4090-9FBD-C26F2F4C7C7B}"/>
          </ac:spMkLst>
        </pc:spChg>
        <pc:spChg chg="add del mod">
          <ac:chgData name="Richerzhagen, Bjoern (T CED WLN-DE)" userId="1be7a072-4164-461c-b9ed-ae3c5d97c1a8" providerId="ADAL" clId="{F3F7C3C5-44EF-4A47-931E-CECA9FA76D3D}" dt="2022-04-26T09:27:09.136" v="2367" actId="478"/>
          <ac:spMkLst>
            <pc:docMk/>
            <pc:sldMk cId="439704998" sldId="2147374036"/>
            <ac:spMk id="19" creationId="{00AB2250-00C3-40DE-9632-881D749EF404}"/>
          </ac:spMkLst>
        </pc:spChg>
        <pc:spChg chg="add mod">
          <ac:chgData name="Richerzhagen, Bjoern (T CED WLN-DE)" userId="1be7a072-4164-461c-b9ed-ae3c5d97c1a8" providerId="ADAL" clId="{F3F7C3C5-44EF-4A47-931E-CECA9FA76D3D}" dt="2022-04-26T11:17:34.887" v="3209" actId="114"/>
          <ac:spMkLst>
            <pc:docMk/>
            <pc:sldMk cId="439704998" sldId="2147374036"/>
            <ac:spMk id="22" creationId="{93BC8CCF-ACDB-4004-94FD-63B53E68D900}"/>
          </ac:spMkLst>
        </pc:spChg>
        <pc:grpChg chg="del">
          <ac:chgData name="Richerzhagen, Bjoern (T CED WLN-DE)" userId="1be7a072-4164-461c-b9ed-ae3c5d97c1a8" providerId="ADAL" clId="{F3F7C3C5-44EF-4A47-931E-CECA9FA76D3D}" dt="2022-04-26T08:15:29.371" v="457" actId="478"/>
          <ac:grpSpMkLst>
            <pc:docMk/>
            <pc:sldMk cId="439704998" sldId="2147374036"/>
            <ac:grpSpMk id="14" creationId="{FCCE1E1D-A96A-45D9-9870-F45AB9D46C38}"/>
          </ac:grpSpMkLst>
        </pc:grpChg>
        <pc:graphicFrameChg chg="add mod modGraphic">
          <ac:chgData name="Richerzhagen, Bjoern (T CED WLN-DE)" userId="1be7a072-4164-461c-b9ed-ae3c5d97c1a8" providerId="ADAL" clId="{F3F7C3C5-44EF-4A47-931E-CECA9FA76D3D}" dt="2022-04-26T09:35:38.980" v="2566" actId="1036"/>
          <ac:graphicFrameMkLst>
            <pc:docMk/>
            <pc:sldMk cId="439704998" sldId="2147374036"/>
            <ac:graphicFrameMk id="13" creationId="{2EBA6B15-1B6D-4F60-B40F-CECA720AF6E9}"/>
          </ac:graphicFrameMkLst>
        </pc:graphicFrameChg>
        <pc:graphicFrameChg chg="add mod modGraphic">
          <ac:chgData name="Richerzhagen, Bjoern (T CED WLN-DE)" userId="1be7a072-4164-461c-b9ed-ae3c5d97c1a8" providerId="ADAL" clId="{F3F7C3C5-44EF-4A47-931E-CECA9FA76D3D}" dt="2022-04-26T09:35:44.432" v="2575" actId="1036"/>
          <ac:graphicFrameMkLst>
            <pc:docMk/>
            <pc:sldMk cId="439704998" sldId="2147374036"/>
            <ac:graphicFrameMk id="20" creationId="{BF0B408B-6AD8-4610-ABC9-82335573317D}"/>
          </ac:graphicFrameMkLst>
        </pc:graphicFrameChg>
        <pc:picChg chg="add del mod">
          <ac:chgData name="Richerzhagen, Bjoern (T CED WLN-DE)" userId="1be7a072-4164-461c-b9ed-ae3c5d97c1a8" providerId="ADAL" clId="{F3F7C3C5-44EF-4A47-931E-CECA9FA76D3D}" dt="2022-04-26T08:54:20.017" v="1946" actId="478"/>
          <ac:picMkLst>
            <pc:docMk/>
            <pc:sldMk cId="439704998" sldId="2147374036"/>
            <ac:picMk id="8" creationId="{FC934BAB-FFC7-4704-8DCE-7B5473F68B44}"/>
          </ac:picMkLst>
        </pc:picChg>
        <pc:picChg chg="del">
          <ac:chgData name="Richerzhagen, Bjoern (T CED WLN-DE)" userId="1be7a072-4164-461c-b9ed-ae3c5d97c1a8" providerId="ADAL" clId="{F3F7C3C5-44EF-4A47-931E-CECA9FA76D3D}" dt="2022-04-26T08:25:33.056" v="757" actId="478"/>
          <ac:picMkLst>
            <pc:docMk/>
            <pc:sldMk cId="439704998" sldId="2147374036"/>
            <ac:picMk id="9" creationId="{E4ACD85B-F42A-4333-82CA-CAC76996B80E}"/>
          </ac:picMkLst>
        </pc:picChg>
        <pc:picChg chg="del">
          <ac:chgData name="Richerzhagen, Bjoern (T CED WLN-DE)" userId="1be7a072-4164-461c-b9ed-ae3c5d97c1a8" providerId="ADAL" clId="{F3F7C3C5-44EF-4A47-931E-CECA9FA76D3D}" dt="2022-04-26T08:25:33.056" v="757" actId="478"/>
          <ac:picMkLst>
            <pc:docMk/>
            <pc:sldMk cId="439704998" sldId="2147374036"/>
            <ac:picMk id="10" creationId="{AADD5BF8-7037-4E82-80CD-8C60420BE514}"/>
          </ac:picMkLst>
        </pc:picChg>
        <pc:picChg chg="del">
          <ac:chgData name="Richerzhagen, Bjoern (T CED WLN-DE)" userId="1be7a072-4164-461c-b9ed-ae3c5d97c1a8" providerId="ADAL" clId="{F3F7C3C5-44EF-4A47-931E-CECA9FA76D3D}" dt="2022-04-26T08:25:33.056" v="757" actId="478"/>
          <ac:picMkLst>
            <pc:docMk/>
            <pc:sldMk cId="439704998" sldId="2147374036"/>
            <ac:picMk id="11" creationId="{5238C5C4-9D21-4A41-B5BE-7D2601334E86}"/>
          </ac:picMkLst>
        </pc:picChg>
        <pc:picChg chg="del">
          <ac:chgData name="Richerzhagen, Bjoern (T CED WLN-DE)" userId="1be7a072-4164-461c-b9ed-ae3c5d97c1a8" providerId="ADAL" clId="{F3F7C3C5-44EF-4A47-931E-CECA9FA76D3D}" dt="2022-04-26T08:25:33.056" v="757" actId="478"/>
          <ac:picMkLst>
            <pc:docMk/>
            <pc:sldMk cId="439704998" sldId="2147374036"/>
            <ac:picMk id="12" creationId="{BA5CDD4D-958A-4944-82C9-C1669D61CC55}"/>
          </ac:picMkLst>
        </pc:picChg>
        <pc:picChg chg="add mod">
          <ac:chgData name="Richerzhagen, Bjoern (T CED WLN-DE)" userId="1be7a072-4164-461c-b9ed-ae3c5d97c1a8" providerId="ADAL" clId="{F3F7C3C5-44EF-4A47-931E-CECA9FA76D3D}" dt="2022-04-26T11:17:25.853" v="3207" actId="1076"/>
          <ac:picMkLst>
            <pc:docMk/>
            <pc:sldMk cId="439704998" sldId="2147374036"/>
            <ac:picMk id="21" creationId="{9F19A019-17A5-4AD3-B0FA-ACB56BA52DF0}"/>
          </ac:picMkLst>
        </pc:picChg>
      </pc:sldChg>
      <pc:sldChg chg="addSp delSp modSp new mod modClrScheme chgLayout">
        <pc:chgData name="Richerzhagen, Bjoern (T CED WLN-DE)" userId="1be7a072-4164-461c-b9ed-ae3c5d97c1a8" providerId="ADAL" clId="{F3F7C3C5-44EF-4A47-931E-CECA9FA76D3D}" dt="2022-04-26T12:53:04.677" v="4018" actId="20577"/>
        <pc:sldMkLst>
          <pc:docMk/>
          <pc:sldMk cId="888592689" sldId="2147374037"/>
        </pc:sldMkLst>
        <pc:spChg chg="del mod ord">
          <ac:chgData name="Richerzhagen, Bjoern (T CED WLN-DE)" userId="1be7a072-4164-461c-b9ed-ae3c5d97c1a8" providerId="ADAL" clId="{F3F7C3C5-44EF-4A47-931E-CECA9FA76D3D}" dt="2022-04-26T08:19:49.555" v="528" actId="700"/>
          <ac:spMkLst>
            <pc:docMk/>
            <pc:sldMk cId="888592689" sldId="2147374037"/>
            <ac:spMk id="2" creationId="{DFCF52C7-2A28-48A2-BFED-EE0A6C8C6214}"/>
          </ac:spMkLst>
        </pc:spChg>
        <pc:spChg chg="del mod ord">
          <ac:chgData name="Richerzhagen, Bjoern (T CED WLN-DE)" userId="1be7a072-4164-461c-b9ed-ae3c5d97c1a8" providerId="ADAL" clId="{F3F7C3C5-44EF-4A47-931E-CECA9FA76D3D}" dt="2022-04-26T08:19:49.555" v="528" actId="700"/>
          <ac:spMkLst>
            <pc:docMk/>
            <pc:sldMk cId="888592689" sldId="2147374037"/>
            <ac:spMk id="3" creationId="{0D4C8F16-7A40-453B-8F21-AAC2D2211362}"/>
          </ac:spMkLst>
        </pc:spChg>
        <pc:spChg chg="add mod ord">
          <ac:chgData name="Richerzhagen, Bjoern (T CED WLN-DE)" userId="1be7a072-4164-461c-b9ed-ae3c5d97c1a8" providerId="ADAL" clId="{F3F7C3C5-44EF-4A47-931E-CECA9FA76D3D}" dt="2022-04-26T08:23:21.469" v="672" actId="20577"/>
          <ac:spMkLst>
            <pc:docMk/>
            <pc:sldMk cId="888592689" sldId="2147374037"/>
            <ac:spMk id="4" creationId="{2BAF6A41-6E9C-4F8E-A6AD-709BB22D68F1}"/>
          </ac:spMkLst>
        </pc:spChg>
        <pc:spChg chg="add mod ord">
          <ac:chgData name="Richerzhagen, Bjoern (T CED WLN-DE)" userId="1be7a072-4164-461c-b9ed-ae3c5d97c1a8" providerId="ADAL" clId="{F3F7C3C5-44EF-4A47-931E-CECA9FA76D3D}" dt="2022-04-26T12:53:04.677" v="4018" actId="20577"/>
          <ac:spMkLst>
            <pc:docMk/>
            <pc:sldMk cId="888592689" sldId="2147374037"/>
            <ac:spMk id="5" creationId="{DE0F5CA8-90B5-4B74-B588-224BFA774738}"/>
          </ac:spMkLst>
        </pc:spChg>
      </pc:sldChg>
      <pc:sldChg chg="new del">
        <pc:chgData name="Richerzhagen, Bjoern (T CED WLN-DE)" userId="1be7a072-4164-461c-b9ed-ae3c5d97c1a8" providerId="ADAL" clId="{F3F7C3C5-44EF-4A47-931E-CECA9FA76D3D}" dt="2022-04-26T08:20:56.359" v="604" actId="47"/>
        <pc:sldMkLst>
          <pc:docMk/>
          <pc:sldMk cId="1182033729" sldId="2147374038"/>
        </pc:sldMkLst>
      </pc:sldChg>
      <pc:sldChg chg="addSp delSp modSp add del mod ord">
        <pc:chgData name="Richerzhagen, Bjoern (T CED WLN-DE)" userId="1be7a072-4164-461c-b9ed-ae3c5d97c1a8" providerId="ADAL" clId="{F3F7C3C5-44EF-4A47-931E-CECA9FA76D3D}" dt="2022-04-26T08:40:35.815" v="1538" actId="47"/>
        <pc:sldMkLst>
          <pc:docMk/>
          <pc:sldMk cId="919882457" sldId="2147374039"/>
        </pc:sldMkLst>
        <pc:spChg chg="mod">
          <ac:chgData name="Richerzhagen, Bjoern (T CED WLN-DE)" userId="1be7a072-4164-461c-b9ed-ae3c5d97c1a8" providerId="ADAL" clId="{F3F7C3C5-44EF-4A47-931E-CECA9FA76D3D}" dt="2022-04-26T08:21:17.717" v="620" actId="20577"/>
          <ac:spMkLst>
            <pc:docMk/>
            <pc:sldMk cId="919882457" sldId="2147374039"/>
            <ac:spMk id="2" creationId="{8BD5140A-BA52-4C0D-BB89-D9A1299EBF0E}"/>
          </ac:spMkLst>
        </pc:spChg>
        <pc:spChg chg="add mod">
          <ac:chgData name="Richerzhagen, Bjoern (T CED WLN-DE)" userId="1be7a072-4164-461c-b9ed-ae3c5d97c1a8" providerId="ADAL" clId="{F3F7C3C5-44EF-4A47-931E-CECA9FA76D3D}" dt="2022-04-26T08:22:11.842" v="641" actId="1076"/>
          <ac:spMkLst>
            <pc:docMk/>
            <pc:sldMk cId="919882457" sldId="2147374039"/>
            <ac:spMk id="3" creationId="{521E17B8-8308-452A-8FF0-314B171AC635}"/>
          </ac:spMkLst>
        </pc:spChg>
        <pc:spChg chg="mod">
          <ac:chgData name="Richerzhagen, Bjoern (T CED WLN-DE)" userId="1be7a072-4164-461c-b9ed-ae3c5d97c1a8" providerId="ADAL" clId="{F3F7C3C5-44EF-4A47-931E-CECA9FA76D3D}" dt="2022-04-26T08:21:43.824" v="624" actId="6549"/>
          <ac:spMkLst>
            <pc:docMk/>
            <pc:sldMk cId="919882457" sldId="2147374039"/>
            <ac:spMk id="5" creationId="{9781BFBE-B86A-4F60-AFC4-BEF92648CB97}"/>
          </ac:spMkLst>
        </pc:spChg>
        <pc:spChg chg="mod">
          <ac:chgData name="Richerzhagen, Bjoern (T CED WLN-DE)" userId="1be7a072-4164-461c-b9ed-ae3c5d97c1a8" providerId="ADAL" clId="{F3F7C3C5-44EF-4A47-931E-CECA9FA76D3D}" dt="2022-04-26T08:21:42.594" v="623" actId="6549"/>
          <ac:spMkLst>
            <pc:docMk/>
            <pc:sldMk cId="919882457" sldId="2147374039"/>
            <ac:spMk id="17" creationId="{9D64EED9-9087-412A-A548-7A4A8F8C29AC}"/>
          </ac:spMkLst>
        </pc:spChg>
        <pc:spChg chg="mod">
          <ac:chgData name="Richerzhagen, Bjoern (T CED WLN-DE)" userId="1be7a072-4164-461c-b9ed-ae3c5d97c1a8" providerId="ADAL" clId="{F3F7C3C5-44EF-4A47-931E-CECA9FA76D3D}" dt="2022-04-26T08:21:41.221" v="622" actId="6549"/>
          <ac:spMkLst>
            <pc:docMk/>
            <pc:sldMk cId="919882457" sldId="2147374039"/>
            <ac:spMk id="23" creationId="{646214A0-DF02-498A-A1E8-848391364C48}"/>
          </ac:spMkLst>
        </pc:spChg>
        <pc:spChg chg="mod">
          <ac:chgData name="Richerzhagen, Bjoern (T CED WLN-DE)" userId="1be7a072-4164-461c-b9ed-ae3c5d97c1a8" providerId="ADAL" clId="{F3F7C3C5-44EF-4A47-931E-CECA9FA76D3D}" dt="2022-04-26T08:21:39.666" v="621" actId="6549"/>
          <ac:spMkLst>
            <pc:docMk/>
            <pc:sldMk cId="919882457" sldId="2147374039"/>
            <ac:spMk id="24" creationId="{0B515B0F-17DD-4022-8903-3C9B0156F02C}"/>
          </ac:spMkLst>
        </pc:spChg>
        <pc:grpChg chg="del">
          <ac:chgData name="Richerzhagen, Bjoern (T CED WLN-DE)" userId="1be7a072-4164-461c-b9ed-ae3c5d97c1a8" providerId="ADAL" clId="{F3F7C3C5-44EF-4A47-931E-CECA9FA76D3D}" dt="2022-04-26T08:21:04.109" v="605" actId="478"/>
          <ac:grpSpMkLst>
            <pc:docMk/>
            <pc:sldMk cId="919882457" sldId="2147374039"/>
            <ac:grpSpMk id="8" creationId="{8DB24E4D-04AC-43A7-95DA-5635E8022034}"/>
          </ac:grpSpMkLst>
        </pc:grpChg>
        <pc:grpChg chg="del">
          <ac:chgData name="Richerzhagen, Bjoern (T CED WLN-DE)" userId="1be7a072-4164-461c-b9ed-ae3c5d97c1a8" providerId="ADAL" clId="{F3F7C3C5-44EF-4A47-931E-CECA9FA76D3D}" dt="2022-04-26T08:21:05.158" v="606" actId="478"/>
          <ac:grpSpMkLst>
            <pc:docMk/>
            <pc:sldMk cId="919882457" sldId="2147374039"/>
            <ac:grpSpMk id="43" creationId="{A87CC914-1408-4A0C-B5BC-9C08C44CAC54}"/>
          </ac:grpSpMkLst>
        </pc:grpChg>
        <pc:grpChg chg="del">
          <ac:chgData name="Richerzhagen, Bjoern (T CED WLN-DE)" userId="1be7a072-4164-461c-b9ed-ae3c5d97c1a8" providerId="ADAL" clId="{F3F7C3C5-44EF-4A47-931E-CECA9FA76D3D}" dt="2022-04-26T08:21:05.798" v="607" actId="478"/>
          <ac:grpSpMkLst>
            <pc:docMk/>
            <pc:sldMk cId="919882457" sldId="2147374039"/>
            <ac:grpSpMk id="50" creationId="{965E52EA-3B46-42CE-B422-E6F19B19743D}"/>
          </ac:grpSpMkLst>
        </pc:grpChg>
        <pc:grpChg chg="del">
          <ac:chgData name="Richerzhagen, Bjoern (T CED WLN-DE)" userId="1be7a072-4164-461c-b9ed-ae3c5d97c1a8" providerId="ADAL" clId="{F3F7C3C5-44EF-4A47-931E-CECA9FA76D3D}" dt="2022-04-26T08:21:06.579" v="608" actId="478"/>
          <ac:grpSpMkLst>
            <pc:docMk/>
            <pc:sldMk cId="919882457" sldId="2147374039"/>
            <ac:grpSpMk id="57" creationId="{59F9EC03-97BA-4EE1-8E6F-BDD77994FCDA}"/>
          </ac:grpSpMkLst>
        </pc:grpChg>
      </pc:sldChg>
      <pc:sldChg chg="add del">
        <pc:chgData name="Richerzhagen, Bjoern (T CED WLN-DE)" userId="1be7a072-4164-461c-b9ed-ae3c5d97c1a8" providerId="ADAL" clId="{F3F7C3C5-44EF-4A47-931E-CECA9FA76D3D}" dt="2022-04-26T12:52:32.267" v="4003" actId="47"/>
        <pc:sldMkLst>
          <pc:docMk/>
          <pc:sldMk cId="1123989748" sldId="2147374040"/>
        </pc:sldMkLst>
      </pc:sldChg>
      <pc:sldChg chg="modSp add mod">
        <pc:chgData name="Richerzhagen, Bjoern (T CED WLN-DE)" userId="1be7a072-4164-461c-b9ed-ae3c5d97c1a8" providerId="ADAL" clId="{F3F7C3C5-44EF-4A47-931E-CECA9FA76D3D}" dt="2022-04-26T08:28:47.134" v="1008" actId="20577"/>
        <pc:sldMkLst>
          <pc:docMk/>
          <pc:sldMk cId="2716467452" sldId="2147374041"/>
        </pc:sldMkLst>
        <pc:spChg chg="mod">
          <ac:chgData name="Richerzhagen, Bjoern (T CED WLN-DE)" userId="1be7a072-4164-461c-b9ed-ae3c5d97c1a8" providerId="ADAL" clId="{F3F7C3C5-44EF-4A47-931E-CECA9FA76D3D}" dt="2022-04-26T08:28:47.134" v="1008" actId="20577"/>
          <ac:spMkLst>
            <pc:docMk/>
            <pc:sldMk cId="2716467452" sldId="2147374041"/>
            <ac:spMk id="4" creationId="{2BAF6A41-6E9C-4F8E-A6AD-709BB22D68F1}"/>
          </ac:spMkLst>
        </pc:spChg>
        <pc:spChg chg="mod">
          <ac:chgData name="Richerzhagen, Bjoern (T CED WLN-DE)" userId="1be7a072-4164-461c-b9ed-ae3c5d97c1a8" providerId="ADAL" clId="{F3F7C3C5-44EF-4A47-931E-CECA9FA76D3D}" dt="2022-04-26T08:28:19.654" v="975" actId="20577"/>
          <ac:spMkLst>
            <pc:docMk/>
            <pc:sldMk cId="2716467452" sldId="2147374041"/>
            <ac:spMk id="5" creationId="{DE0F5CA8-90B5-4B74-B588-224BFA774738}"/>
          </ac:spMkLst>
        </pc:spChg>
      </pc:sldChg>
      <pc:sldChg chg="add del">
        <pc:chgData name="Richerzhagen, Bjoern (T CED WLN-DE)" userId="1be7a072-4164-461c-b9ed-ae3c5d97c1a8" providerId="ADAL" clId="{F3F7C3C5-44EF-4A47-931E-CECA9FA76D3D}" dt="2022-04-26T08:29:30.189" v="1038" actId="47"/>
        <pc:sldMkLst>
          <pc:docMk/>
          <pc:sldMk cId="1806482147" sldId="2147374042"/>
        </pc:sldMkLst>
      </pc:sldChg>
      <pc:sldChg chg="new del">
        <pc:chgData name="Richerzhagen, Bjoern (T CED WLN-DE)" userId="1be7a072-4164-461c-b9ed-ae3c5d97c1a8" providerId="ADAL" clId="{F3F7C3C5-44EF-4A47-931E-CECA9FA76D3D}" dt="2022-04-26T08:24:39.473" v="755" actId="47"/>
        <pc:sldMkLst>
          <pc:docMk/>
          <pc:sldMk cId="2965236746" sldId="2147374042"/>
        </pc:sldMkLst>
      </pc:sldChg>
      <pc:sldChg chg="addSp delSp modSp add mod">
        <pc:chgData name="Richerzhagen, Bjoern (T CED WLN-DE)" userId="1be7a072-4164-461c-b9ed-ae3c5d97c1a8" providerId="ADAL" clId="{F3F7C3C5-44EF-4A47-931E-CECA9FA76D3D}" dt="2022-04-26T11:20:21.024" v="3252" actId="2061"/>
        <pc:sldMkLst>
          <pc:docMk/>
          <pc:sldMk cId="2036441690" sldId="2147374043"/>
        </pc:sldMkLst>
        <pc:spChg chg="mod">
          <ac:chgData name="Richerzhagen, Bjoern (T CED WLN-DE)" userId="1be7a072-4164-461c-b9ed-ae3c5d97c1a8" providerId="ADAL" clId="{F3F7C3C5-44EF-4A47-931E-CECA9FA76D3D}" dt="2022-04-26T08:27:51.822" v="910" actId="20577"/>
          <ac:spMkLst>
            <pc:docMk/>
            <pc:sldMk cId="2036441690" sldId="2147374043"/>
            <ac:spMk id="2" creationId="{49C459C6-661F-4B9A-9E38-FB09392A77BF}"/>
          </ac:spMkLst>
        </pc:spChg>
        <pc:spChg chg="add del mod">
          <ac:chgData name="Richerzhagen, Bjoern (T CED WLN-DE)" userId="1be7a072-4164-461c-b9ed-ae3c5d97c1a8" providerId="ADAL" clId="{F3F7C3C5-44EF-4A47-931E-CECA9FA76D3D}" dt="2022-04-26T09:36:54.875" v="2622" actId="478"/>
          <ac:spMkLst>
            <pc:docMk/>
            <pc:sldMk cId="2036441690" sldId="2147374043"/>
            <ac:spMk id="3" creationId="{58540DBD-602D-48B0-A5BF-3AE5659C3BF4}"/>
          </ac:spMkLst>
        </pc:spChg>
        <pc:graphicFrameChg chg="add del mod modGraphic">
          <ac:chgData name="Richerzhagen, Bjoern (T CED WLN-DE)" userId="1be7a072-4164-461c-b9ed-ae3c5d97c1a8" providerId="ADAL" clId="{F3F7C3C5-44EF-4A47-931E-CECA9FA76D3D}" dt="2022-04-26T09:28:58.375" v="2446" actId="21"/>
          <ac:graphicFrameMkLst>
            <pc:docMk/>
            <pc:sldMk cId="2036441690" sldId="2147374043"/>
            <ac:graphicFrameMk id="6" creationId="{5181C4D9-9473-4783-8BFB-34058B53AE37}"/>
          </ac:graphicFrameMkLst>
        </pc:graphicFrameChg>
        <pc:graphicFrameChg chg="add mod modGraphic">
          <ac:chgData name="Richerzhagen, Bjoern (T CED WLN-DE)" userId="1be7a072-4164-461c-b9ed-ae3c5d97c1a8" providerId="ADAL" clId="{F3F7C3C5-44EF-4A47-931E-CECA9FA76D3D}" dt="2022-04-26T11:20:21.024" v="3252" actId="2061"/>
          <ac:graphicFrameMkLst>
            <pc:docMk/>
            <pc:sldMk cId="2036441690" sldId="2147374043"/>
            <ac:graphicFrameMk id="7" creationId="{11094EAE-C063-4577-9064-76C17FE38DD7}"/>
          </ac:graphicFrameMkLst>
        </pc:graphicFrameChg>
        <pc:picChg chg="add del mod">
          <ac:chgData name="Richerzhagen, Bjoern (T CED WLN-DE)" userId="1be7a072-4164-461c-b9ed-ae3c5d97c1a8" providerId="ADAL" clId="{F3F7C3C5-44EF-4A47-931E-CECA9FA76D3D}" dt="2022-04-26T09:31:16.583" v="2499" actId="478"/>
          <ac:picMkLst>
            <pc:docMk/>
            <pc:sldMk cId="2036441690" sldId="2147374043"/>
            <ac:picMk id="5" creationId="{23E8A760-5940-468F-B201-DE7309EFF56A}"/>
          </ac:picMkLst>
        </pc:picChg>
      </pc:sldChg>
      <pc:sldChg chg="addSp delSp modSp add mod">
        <pc:chgData name="Richerzhagen, Bjoern (T CED WLN-DE)" userId="1be7a072-4164-461c-b9ed-ae3c5d97c1a8" providerId="ADAL" clId="{F3F7C3C5-44EF-4A47-931E-CECA9FA76D3D}" dt="2022-04-26T11:18:54.249" v="3212" actId="1582"/>
        <pc:sldMkLst>
          <pc:docMk/>
          <pc:sldMk cId="2614654369" sldId="2147374044"/>
        </pc:sldMkLst>
        <pc:spChg chg="mod">
          <ac:chgData name="Richerzhagen, Bjoern (T CED WLN-DE)" userId="1be7a072-4164-461c-b9ed-ae3c5d97c1a8" providerId="ADAL" clId="{F3F7C3C5-44EF-4A47-931E-CECA9FA76D3D}" dt="2022-04-26T08:29:00.684" v="1029" actId="20577"/>
          <ac:spMkLst>
            <pc:docMk/>
            <pc:sldMk cId="2614654369" sldId="2147374044"/>
            <ac:spMk id="2" creationId="{49C459C6-661F-4B9A-9E38-FB09392A77BF}"/>
          </ac:spMkLst>
        </pc:spChg>
        <pc:spChg chg="del">
          <ac:chgData name="Richerzhagen, Bjoern (T CED WLN-DE)" userId="1be7a072-4164-461c-b9ed-ae3c5d97c1a8" providerId="ADAL" clId="{F3F7C3C5-44EF-4A47-931E-CECA9FA76D3D}" dt="2022-04-26T11:13:18.485" v="3042" actId="478"/>
          <ac:spMkLst>
            <pc:docMk/>
            <pc:sldMk cId="2614654369" sldId="2147374044"/>
            <ac:spMk id="3" creationId="{58540DBD-602D-48B0-A5BF-3AE5659C3BF4}"/>
          </ac:spMkLst>
        </pc:spChg>
        <pc:spChg chg="add mod">
          <ac:chgData name="Richerzhagen, Bjoern (T CED WLN-DE)" userId="1be7a072-4164-461c-b9ed-ae3c5d97c1a8" providerId="ADAL" clId="{F3F7C3C5-44EF-4A47-931E-CECA9FA76D3D}" dt="2022-04-26T11:18:00.460" v="3210" actId="114"/>
          <ac:spMkLst>
            <pc:docMk/>
            <pc:sldMk cId="2614654369" sldId="2147374044"/>
            <ac:spMk id="11" creationId="{92B3BCA5-4A10-411D-8001-87B8F22826D2}"/>
          </ac:spMkLst>
        </pc:spChg>
        <pc:spChg chg="add mod">
          <ac:chgData name="Richerzhagen, Bjoern (T CED WLN-DE)" userId="1be7a072-4164-461c-b9ed-ae3c5d97c1a8" providerId="ADAL" clId="{F3F7C3C5-44EF-4A47-931E-CECA9FA76D3D}" dt="2022-04-26T11:18:00.460" v="3210" actId="114"/>
          <ac:spMkLst>
            <pc:docMk/>
            <pc:sldMk cId="2614654369" sldId="2147374044"/>
            <ac:spMk id="13" creationId="{4EE2FFB5-AAD4-4079-9723-B7B74D566034}"/>
          </ac:spMkLst>
        </pc:spChg>
        <pc:graphicFrameChg chg="add mod modGraphic">
          <ac:chgData name="Richerzhagen, Bjoern (T CED WLN-DE)" userId="1be7a072-4164-461c-b9ed-ae3c5d97c1a8" providerId="ADAL" clId="{F3F7C3C5-44EF-4A47-931E-CECA9FA76D3D}" dt="2022-04-26T11:16:07.272" v="3160" actId="20577"/>
          <ac:graphicFrameMkLst>
            <pc:docMk/>
            <pc:sldMk cId="2614654369" sldId="2147374044"/>
            <ac:graphicFrameMk id="7" creationId="{70C1FD3C-9BAF-436F-A358-C887AC385C35}"/>
          </ac:graphicFrameMkLst>
        </pc:graphicFrameChg>
        <pc:graphicFrameChg chg="add del mod">
          <ac:chgData name="Richerzhagen, Bjoern (T CED WLN-DE)" userId="1be7a072-4164-461c-b9ed-ae3c5d97c1a8" providerId="ADAL" clId="{F3F7C3C5-44EF-4A47-931E-CECA9FA76D3D}" dt="2022-04-26T09:43:20.601" v="2802" actId="21"/>
          <ac:graphicFrameMkLst>
            <pc:docMk/>
            <pc:sldMk cId="2614654369" sldId="2147374044"/>
            <ac:graphicFrameMk id="8" creationId="{58F4AD9A-372D-42C2-AA33-0DB68F0DC98C}"/>
          </ac:graphicFrameMkLst>
        </pc:graphicFrameChg>
        <pc:picChg chg="del">
          <ac:chgData name="Richerzhagen, Bjoern (T CED WLN-DE)" userId="1be7a072-4164-461c-b9ed-ae3c5d97c1a8" providerId="ADAL" clId="{F3F7C3C5-44EF-4A47-931E-CECA9FA76D3D}" dt="2022-04-26T08:29:05.160" v="1030" actId="478"/>
          <ac:picMkLst>
            <pc:docMk/>
            <pc:sldMk cId="2614654369" sldId="2147374044"/>
            <ac:picMk id="5" creationId="{23E8A760-5940-468F-B201-DE7309EFF56A}"/>
          </ac:picMkLst>
        </pc:picChg>
        <pc:picChg chg="add del mod ord">
          <ac:chgData name="Richerzhagen, Bjoern (T CED WLN-DE)" userId="1be7a072-4164-461c-b9ed-ae3c5d97c1a8" providerId="ADAL" clId="{F3F7C3C5-44EF-4A47-931E-CECA9FA76D3D}" dt="2022-04-26T09:44:19.665" v="2836" actId="478"/>
          <ac:picMkLst>
            <pc:docMk/>
            <pc:sldMk cId="2614654369" sldId="2147374044"/>
            <ac:picMk id="6" creationId="{84CC01E8-C6FC-4478-9519-36EB5EE0AEC7}"/>
          </ac:picMkLst>
        </pc:picChg>
        <pc:picChg chg="add mod">
          <ac:chgData name="Richerzhagen, Bjoern (T CED WLN-DE)" userId="1be7a072-4164-461c-b9ed-ae3c5d97c1a8" providerId="ADAL" clId="{F3F7C3C5-44EF-4A47-931E-CECA9FA76D3D}" dt="2022-04-26T11:18:54.249" v="3212" actId="1582"/>
          <ac:picMkLst>
            <pc:docMk/>
            <pc:sldMk cId="2614654369" sldId="2147374044"/>
            <ac:picMk id="10" creationId="{FE581682-E824-4C5A-A2A0-10A0CC5B78BE}"/>
          </ac:picMkLst>
        </pc:picChg>
        <pc:picChg chg="add mod">
          <ac:chgData name="Richerzhagen, Bjoern (T CED WLN-DE)" userId="1be7a072-4164-461c-b9ed-ae3c5d97c1a8" providerId="ADAL" clId="{F3F7C3C5-44EF-4A47-931E-CECA9FA76D3D}" dt="2022-04-26T11:18:54.249" v="3212" actId="1582"/>
          <ac:picMkLst>
            <pc:docMk/>
            <pc:sldMk cId="2614654369" sldId="2147374044"/>
            <ac:picMk id="12" creationId="{384E17AA-8F2D-4E03-81E8-1A1E7ED9BB5C}"/>
          </ac:picMkLst>
        </pc:picChg>
      </pc:sldChg>
      <pc:sldChg chg="modSp add del mod">
        <pc:chgData name="Richerzhagen, Bjoern (T CED WLN-DE)" userId="1be7a072-4164-461c-b9ed-ae3c5d97c1a8" providerId="ADAL" clId="{F3F7C3C5-44EF-4A47-931E-CECA9FA76D3D}" dt="2022-04-26T08:28:53.913" v="1009" actId="47"/>
        <pc:sldMkLst>
          <pc:docMk/>
          <pc:sldMk cId="3237934669" sldId="2147374044"/>
        </pc:sldMkLst>
        <pc:spChg chg="mod">
          <ac:chgData name="Richerzhagen, Bjoern (T CED WLN-DE)" userId="1be7a072-4164-461c-b9ed-ae3c5d97c1a8" providerId="ADAL" clId="{F3F7C3C5-44EF-4A47-931E-CECA9FA76D3D}" dt="2022-04-26T08:27:34.338" v="898" actId="20577"/>
          <ac:spMkLst>
            <pc:docMk/>
            <pc:sldMk cId="3237934669" sldId="2147374044"/>
            <ac:spMk id="4" creationId="{2BAF6A41-6E9C-4F8E-A6AD-709BB22D68F1}"/>
          </ac:spMkLst>
        </pc:spChg>
      </pc:sldChg>
      <pc:sldChg chg="addSp delSp modSp new mod modNotesTx">
        <pc:chgData name="Richerzhagen, Bjoern (T CED WLN-DE)" userId="1be7a072-4164-461c-b9ed-ae3c5d97c1a8" providerId="ADAL" clId="{F3F7C3C5-44EF-4A47-931E-CECA9FA76D3D}" dt="2022-04-26T12:50:48.247" v="3983" actId="1076"/>
        <pc:sldMkLst>
          <pc:docMk/>
          <pc:sldMk cId="4189303276" sldId="2147374045"/>
        </pc:sldMkLst>
        <pc:spChg chg="mod">
          <ac:chgData name="Richerzhagen, Bjoern (T CED WLN-DE)" userId="1be7a072-4164-461c-b9ed-ae3c5d97c1a8" providerId="ADAL" clId="{F3F7C3C5-44EF-4A47-931E-CECA9FA76D3D}" dt="2022-04-26T08:40:54.277" v="1562" actId="404"/>
          <ac:spMkLst>
            <pc:docMk/>
            <pc:sldMk cId="4189303276" sldId="2147374045"/>
            <ac:spMk id="2" creationId="{A0327FF2-3E37-4D3B-8E43-751856409BB2}"/>
          </ac:spMkLst>
        </pc:spChg>
        <pc:spChg chg="mod">
          <ac:chgData name="Richerzhagen, Bjoern (T CED WLN-DE)" userId="1be7a072-4164-461c-b9ed-ae3c5d97c1a8" providerId="ADAL" clId="{F3F7C3C5-44EF-4A47-931E-CECA9FA76D3D}" dt="2022-04-26T12:49:35.520" v="3971" actId="113"/>
          <ac:spMkLst>
            <pc:docMk/>
            <pc:sldMk cId="4189303276" sldId="2147374045"/>
            <ac:spMk id="3" creationId="{8924DE53-85AE-472B-8AA0-203C39FCFA33}"/>
          </ac:spMkLst>
        </pc:spChg>
        <pc:spChg chg="add del mod">
          <ac:chgData name="Richerzhagen, Bjoern (T CED WLN-DE)" userId="1be7a072-4164-461c-b9ed-ae3c5d97c1a8" providerId="ADAL" clId="{F3F7C3C5-44EF-4A47-931E-CECA9FA76D3D}" dt="2022-04-26T12:49:45.692" v="3972" actId="478"/>
          <ac:spMkLst>
            <pc:docMk/>
            <pc:sldMk cId="4189303276" sldId="2147374045"/>
            <ac:spMk id="4" creationId="{213D191D-2890-4704-BD57-CCA8C14B4436}"/>
          </ac:spMkLst>
        </pc:spChg>
        <pc:spChg chg="add mod">
          <ac:chgData name="Richerzhagen, Bjoern (T CED WLN-DE)" userId="1be7a072-4164-461c-b9ed-ae3c5d97c1a8" providerId="ADAL" clId="{F3F7C3C5-44EF-4A47-931E-CECA9FA76D3D}" dt="2022-04-26T12:49:59.310" v="3974" actId="113"/>
          <ac:spMkLst>
            <pc:docMk/>
            <pc:sldMk cId="4189303276" sldId="2147374045"/>
            <ac:spMk id="11" creationId="{C1D5E4C6-4EE3-4078-8044-0EC1604F432A}"/>
          </ac:spMkLst>
        </pc:spChg>
        <pc:spChg chg="add mod">
          <ac:chgData name="Richerzhagen, Bjoern (T CED WLN-DE)" userId="1be7a072-4164-461c-b9ed-ae3c5d97c1a8" providerId="ADAL" clId="{F3F7C3C5-44EF-4A47-931E-CECA9FA76D3D}" dt="2022-04-26T12:50:30.310" v="3979" actId="3064"/>
          <ac:spMkLst>
            <pc:docMk/>
            <pc:sldMk cId="4189303276" sldId="2147374045"/>
            <ac:spMk id="12" creationId="{9D86DC7E-3EBB-4BA7-A284-3DF6DD1939D8}"/>
          </ac:spMkLst>
        </pc:spChg>
        <pc:spChg chg="add mod">
          <ac:chgData name="Richerzhagen, Bjoern (T CED WLN-DE)" userId="1be7a072-4164-461c-b9ed-ae3c5d97c1a8" providerId="ADAL" clId="{F3F7C3C5-44EF-4A47-931E-CECA9FA76D3D}" dt="2022-04-26T12:50:18.203" v="3978" actId="20577"/>
          <ac:spMkLst>
            <pc:docMk/>
            <pc:sldMk cId="4189303276" sldId="2147374045"/>
            <ac:spMk id="13" creationId="{2103D4D1-7EDE-42DA-825C-09EC4754E3AB}"/>
          </ac:spMkLst>
        </pc:spChg>
        <pc:picChg chg="add del mod ord">
          <ac:chgData name="Richerzhagen, Bjoern (T CED WLN-DE)" userId="1be7a072-4164-461c-b9ed-ae3c5d97c1a8" providerId="ADAL" clId="{F3F7C3C5-44EF-4A47-931E-CECA9FA76D3D}" dt="2022-04-26T12:49:11.399" v="3960" actId="478"/>
          <ac:picMkLst>
            <pc:docMk/>
            <pc:sldMk cId="4189303276" sldId="2147374045"/>
            <ac:picMk id="6" creationId="{0790D9FC-60BF-45FF-A269-88A46084298C}"/>
          </ac:picMkLst>
        </pc:picChg>
        <pc:picChg chg="add mod ord">
          <ac:chgData name="Richerzhagen, Bjoern (T CED WLN-DE)" userId="1be7a072-4164-461c-b9ed-ae3c5d97c1a8" providerId="ADAL" clId="{F3F7C3C5-44EF-4A47-931E-CECA9FA76D3D}" dt="2022-04-26T12:50:33.872" v="3980" actId="1076"/>
          <ac:picMkLst>
            <pc:docMk/>
            <pc:sldMk cId="4189303276" sldId="2147374045"/>
            <ac:picMk id="8" creationId="{CAF88944-0BE4-46D7-8BA9-F39E25ED9108}"/>
          </ac:picMkLst>
        </pc:picChg>
        <pc:picChg chg="add del mod ord">
          <ac:chgData name="Richerzhagen, Bjoern (T CED WLN-DE)" userId="1be7a072-4164-461c-b9ed-ae3c5d97c1a8" providerId="ADAL" clId="{F3F7C3C5-44EF-4A47-931E-CECA9FA76D3D}" dt="2022-04-26T12:39:50.322" v="3900" actId="478"/>
          <ac:picMkLst>
            <pc:docMk/>
            <pc:sldMk cId="4189303276" sldId="2147374045"/>
            <ac:picMk id="10" creationId="{5CCB7D12-9470-457E-ABC1-4846B49DF499}"/>
          </ac:picMkLst>
        </pc:picChg>
        <pc:picChg chg="add mod">
          <ac:chgData name="Richerzhagen, Bjoern (T CED WLN-DE)" userId="1be7a072-4164-461c-b9ed-ae3c5d97c1a8" providerId="ADAL" clId="{F3F7C3C5-44EF-4A47-931E-CECA9FA76D3D}" dt="2022-04-26T12:40:40.850" v="3923" actId="1076"/>
          <ac:picMkLst>
            <pc:docMk/>
            <pc:sldMk cId="4189303276" sldId="2147374045"/>
            <ac:picMk id="15" creationId="{CB856532-4392-45D6-A260-BE2C0178A474}"/>
          </ac:picMkLst>
        </pc:picChg>
        <pc:picChg chg="add mod">
          <ac:chgData name="Richerzhagen, Bjoern (T CED WLN-DE)" userId="1be7a072-4164-461c-b9ed-ae3c5d97c1a8" providerId="ADAL" clId="{F3F7C3C5-44EF-4A47-931E-CECA9FA76D3D}" dt="2022-04-26T12:50:44.501" v="3982" actId="1076"/>
          <ac:picMkLst>
            <pc:docMk/>
            <pc:sldMk cId="4189303276" sldId="2147374045"/>
            <ac:picMk id="17" creationId="{A2203BC4-E5DA-44D1-BC72-0AD42B3DD0E4}"/>
          </ac:picMkLst>
        </pc:picChg>
        <pc:picChg chg="add mod">
          <ac:chgData name="Richerzhagen, Bjoern (T CED WLN-DE)" userId="1be7a072-4164-461c-b9ed-ae3c5d97c1a8" providerId="ADAL" clId="{F3F7C3C5-44EF-4A47-931E-CECA9FA76D3D}" dt="2022-04-26T12:50:36.482" v="3981" actId="1076"/>
          <ac:picMkLst>
            <pc:docMk/>
            <pc:sldMk cId="4189303276" sldId="2147374045"/>
            <ac:picMk id="19" creationId="{E863EAEE-581F-4296-98FE-044FADD571C0}"/>
          </ac:picMkLst>
        </pc:picChg>
        <pc:picChg chg="add del mod">
          <ac:chgData name="Richerzhagen, Bjoern (T CED WLN-DE)" userId="1be7a072-4164-461c-b9ed-ae3c5d97c1a8" providerId="ADAL" clId="{F3F7C3C5-44EF-4A47-931E-CECA9FA76D3D}" dt="2022-04-26T12:48:41.499" v="3942" actId="478"/>
          <ac:picMkLst>
            <pc:docMk/>
            <pc:sldMk cId="4189303276" sldId="2147374045"/>
            <ac:picMk id="21" creationId="{839C87F0-225A-474E-B19B-DC97FF88DE3D}"/>
          </ac:picMkLst>
        </pc:picChg>
        <pc:picChg chg="add mod">
          <ac:chgData name="Richerzhagen, Bjoern (T CED WLN-DE)" userId="1be7a072-4164-461c-b9ed-ae3c5d97c1a8" providerId="ADAL" clId="{F3F7C3C5-44EF-4A47-931E-CECA9FA76D3D}" dt="2022-04-26T12:50:48.247" v="3983" actId="1076"/>
          <ac:picMkLst>
            <pc:docMk/>
            <pc:sldMk cId="4189303276" sldId="2147374045"/>
            <ac:picMk id="23" creationId="{359B189C-E0FA-44E9-B408-AFAB7C1C326C}"/>
          </ac:picMkLst>
        </pc:picChg>
        <pc:picChg chg="add del mod">
          <ac:chgData name="Richerzhagen, Bjoern (T CED WLN-DE)" userId="1be7a072-4164-461c-b9ed-ae3c5d97c1a8" providerId="ADAL" clId="{F3F7C3C5-44EF-4A47-931E-CECA9FA76D3D}" dt="2022-04-26T12:48:31.415" v="3939" actId="478"/>
          <ac:picMkLst>
            <pc:docMk/>
            <pc:sldMk cId="4189303276" sldId="2147374045"/>
            <ac:picMk id="25" creationId="{50EA8AD9-632C-49A6-9F35-352C060942C3}"/>
          </ac:picMkLst>
        </pc:picChg>
        <pc:picChg chg="add del mod">
          <ac:chgData name="Richerzhagen, Bjoern (T CED WLN-DE)" userId="1be7a072-4164-461c-b9ed-ae3c5d97c1a8" providerId="ADAL" clId="{F3F7C3C5-44EF-4A47-931E-CECA9FA76D3D}" dt="2022-04-26T12:48:25.184" v="3937" actId="478"/>
          <ac:picMkLst>
            <pc:docMk/>
            <pc:sldMk cId="4189303276" sldId="2147374045"/>
            <ac:picMk id="27" creationId="{0C628F4F-8ABE-4F75-9034-E7A32E8D09CC}"/>
          </ac:picMkLst>
        </pc:picChg>
        <pc:picChg chg="add del mod">
          <ac:chgData name="Richerzhagen, Bjoern (T CED WLN-DE)" userId="1be7a072-4164-461c-b9ed-ae3c5d97c1a8" providerId="ADAL" clId="{F3F7C3C5-44EF-4A47-931E-CECA9FA76D3D}" dt="2022-04-26T12:49:00.723" v="3954" actId="478"/>
          <ac:picMkLst>
            <pc:docMk/>
            <pc:sldMk cId="4189303276" sldId="2147374045"/>
            <ac:picMk id="29" creationId="{55B48737-465C-442E-B68C-ECF0EFFCBB89}"/>
          </ac:picMkLst>
        </pc:picChg>
      </pc:sldChg>
      <pc:sldChg chg="addSp delSp modSp new del mod chgLayout">
        <pc:chgData name="Richerzhagen, Bjoern (T CED WLN-DE)" userId="1be7a072-4164-461c-b9ed-ae3c5d97c1a8" providerId="ADAL" clId="{F3F7C3C5-44EF-4A47-931E-CECA9FA76D3D}" dt="2022-04-26T12:55:20.902" v="4125" actId="47"/>
        <pc:sldMkLst>
          <pc:docMk/>
          <pc:sldMk cId="1261991534" sldId="2147374046"/>
        </pc:sldMkLst>
        <pc:spChg chg="mod ord">
          <ac:chgData name="Richerzhagen, Bjoern (T CED WLN-DE)" userId="1be7a072-4164-461c-b9ed-ae3c5d97c1a8" providerId="ADAL" clId="{F3F7C3C5-44EF-4A47-931E-CECA9FA76D3D}" dt="2022-04-26T08:43:45.357" v="1591"/>
          <ac:spMkLst>
            <pc:docMk/>
            <pc:sldMk cId="1261991534" sldId="2147374046"/>
            <ac:spMk id="2" creationId="{FD3E11E2-0BBB-4DDB-B37A-CB847FD129CE}"/>
          </ac:spMkLst>
        </pc:spChg>
        <pc:spChg chg="del">
          <ac:chgData name="Richerzhagen, Bjoern (T CED WLN-DE)" userId="1be7a072-4164-461c-b9ed-ae3c5d97c1a8" providerId="ADAL" clId="{F3F7C3C5-44EF-4A47-931E-CECA9FA76D3D}" dt="2022-04-26T08:43:12.117" v="1588"/>
          <ac:spMkLst>
            <pc:docMk/>
            <pc:sldMk cId="1261991534" sldId="2147374046"/>
            <ac:spMk id="3" creationId="{5DBDB95E-238E-4D96-B160-3FADFBA2BB27}"/>
          </ac:spMkLst>
        </pc:spChg>
        <pc:spChg chg="add del mod">
          <ac:chgData name="Richerzhagen, Bjoern (T CED WLN-DE)" userId="1be7a072-4164-461c-b9ed-ae3c5d97c1a8" providerId="ADAL" clId="{F3F7C3C5-44EF-4A47-931E-CECA9FA76D3D}" dt="2022-04-26T08:43:45.357" v="1591"/>
          <ac:spMkLst>
            <pc:docMk/>
            <pc:sldMk cId="1261991534" sldId="2147374046"/>
            <ac:spMk id="5" creationId="{E4E2DAA6-45E9-42C0-B12E-31F164937DDE}"/>
          </ac:spMkLst>
        </pc:spChg>
        <pc:spChg chg="add del mod">
          <ac:chgData name="Richerzhagen, Bjoern (T CED WLN-DE)" userId="1be7a072-4164-461c-b9ed-ae3c5d97c1a8" providerId="ADAL" clId="{F3F7C3C5-44EF-4A47-931E-CECA9FA76D3D}" dt="2022-04-26T08:43:45.357" v="1591"/>
          <ac:spMkLst>
            <pc:docMk/>
            <pc:sldMk cId="1261991534" sldId="2147374046"/>
            <ac:spMk id="6" creationId="{5277864B-6272-49F4-A6EC-729451740AF3}"/>
          </ac:spMkLst>
        </pc:spChg>
        <pc:spChg chg="add mod">
          <ac:chgData name="Richerzhagen, Bjoern (T CED WLN-DE)" userId="1be7a072-4164-461c-b9ed-ae3c5d97c1a8" providerId="ADAL" clId="{F3F7C3C5-44EF-4A47-931E-CECA9FA76D3D}" dt="2022-04-26T12:32:55.147" v="3772" actId="20577"/>
          <ac:spMkLst>
            <pc:docMk/>
            <pc:sldMk cId="1261991534" sldId="2147374046"/>
            <ac:spMk id="8" creationId="{87333AAC-8AB7-40B1-9A85-3B1CC94FCA34}"/>
          </ac:spMkLst>
        </pc:spChg>
        <pc:picChg chg="add del mod ord">
          <ac:chgData name="Richerzhagen, Bjoern (T CED WLN-DE)" userId="1be7a072-4164-461c-b9ed-ae3c5d97c1a8" providerId="ADAL" clId="{F3F7C3C5-44EF-4A47-931E-CECA9FA76D3D}" dt="2022-04-26T08:43:47.427" v="1592" actId="21"/>
          <ac:picMkLst>
            <pc:docMk/>
            <pc:sldMk cId="1261991534" sldId="2147374046"/>
            <ac:picMk id="4" creationId="{7B74463F-DFD2-4C1E-B2EB-46177D9D3F4C}"/>
          </ac:picMkLst>
        </pc:picChg>
        <pc:picChg chg="add mod">
          <ac:chgData name="Richerzhagen, Bjoern (T CED WLN-DE)" userId="1be7a072-4164-461c-b9ed-ae3c5d97c1a8" providerId="ADAL" clId="{F3F7C3C5-44EF-4A47-931E-CECA9FA76D3D}" dt="2022-04-26T12:33:06.410" v="3773" actId="1076"/>
          <ac:picMkLst>
            <pc:docMk/>
            <pc:sldMk cId="1261991534" sldId="2147374046"/>
            <ac:picMk id="9" creationId="{F9BEA9CC-267D-4429-937E-A07B33BC3038}"/>
          </ac:picMkLst>
        </pc:picChg>
      </pc:sldChg>
      <pc:sldChg chg="addSp delSp modSp add mod">
        <pc:chgData name="Richerzhagen, Bjoern (T CED WLN-DE)" userId="1be7a072-4164-461c-b9ed-ae3c5d97c1a8" providerId="ADAL" clId="{F3F7C3C5-44EF-4A47-931E-CECA9FA76D3D}" dt="2022-04-26T11:19:30.150" v="3232" actId="20577"/>
        <pc:sldMkLst>
          <pc:docMk/>
          <pc:sldMk cId="1997985084" sldId="2147374047"/>
        </pc:sldMkLst>
        <pc:spChg chg="mod">
          <ac:chgData name="Richerzhagen, Bjoern (T CED WLN-DE)" userId="1be7a072-4164-461c-b9ed-ae3c5d97c1a8" providerId="ADAL" clId="{F3F7C3C5-44EF-4A47-931E-CECA9FA76D3D}" dt="2022-04-26T11:19:30.150" v="3232" actId="20577"/>
          <ac:spMkLst>
            <pc:docMk/>
            <pc:sldMk cId="1997985084" sldId="2147374047"/>
            <ac:spMk id="2" creationId="{49C459C6-661F-4B9A-9E38-FB09392A77BF}"/>
          </ac:spMkLst>
        </pc:spChg>
        <pc:spChg chg="del">
          <ac:chgData name="Richerzhagen, Bjoern (T CED WLN-DE)" userId="1be7a072-4164-461c-b9ed-ae3c5d97c1a8" providerId="ADAL" clId="{F3F7C3C5-44EF-4A47-931E-CECA9FA76D3D}" dt="2022-04-26T09:27:12.116" v="2368" actId="478"/>
          <ac:spMkLst>
            <pc:docMk/>
            <pc:sldMk cId="1997985084" sldId="2147374047"/>
            <ac:spMk id="19" creationId="{00AB2250-00C3-40DE-9632-881D749EF404}"/>
          </ac:spMkLst>
        </pc:spChg>
        <pc:graphicFrameChg chg="add del mod modGraphic">
          <ac:chgData name="Richerzhagen, Bjoern (T CED WLN-DE)" userId="1be7a072-4164-461c-b9ed-ae3c5d97c1a8" providerId="ADAL" clId="{F3F7C3C5-44EF-4A47-931E-CECA9FA76D3D}" dt="2022-04-26T09:29:05.463" v="2449" actId="21"/>
          <ac:graphicFrameMkLst>
            <pc:docMk/>
            <pc:sldMk cId="1997985084" sldId="2147374047"/>
            <ac:graphicFrameMk id="5" creationId="{7BF552BB-9F8E-4529-A70B-02DCBE7E7E2F}"/>
          </ac:graphicFrameMkLst>
        </pc:graphicFrameChg>
        <pc:graphicFrameChg chg="mod modGraphic">
          <ac:chgData name="Richerzhagen, Bjoern (T CED WLN-DE)" userId="1be7a072-4164-461c-b9ed-ae3c5d97c1a8" providerId="ADAL" clId="{F3F7C3C5-44EF-4A47-931E-CECA9FA76D3D}" dt="2022-04-26T09:36:38.182" v="2621" actId="1036"/>
          <ac:graphicFrameMkLst>
            <pc:docMk/>
            <pc:sldMk cId="1997985084" sldId="2147374047"/>
            <ac:graphicFrameMk id="13" creationId="{2EBA6B15-1B6D-4F60-B40F-CECA720AF6E9}"/>
          </ac:graphicFrameMkLst>
        </pc:graphicFrameChg>
      </pc:sldChg>
      <pc:sldChg chg="delSp modSp add del mod ord">
        <pc:chgData name="Richerzhagen, Bjoern (T CED WLN-DE)" userId="1be7a072-4164-461c-b9ed-ae3c5d97c1a8" providerId="ADAL" clId="{F3F7C3C5-44EF-4A47-931E-CECA9FA76D3D}" dt="2022-04-26T09:27:06.074" v="2366" actId="47"/>
        <pc:sldMkLst>
          <pc:docMk/>
          <pc:sldMk cId="1199945453" sldId="2147374048"/>
        </pc:sldMkLst>
        <pc:graphicFrameChg chg="del mod modGraphic">
          <ac:chgData name="Richerzhagen, Bjoern (T CED WLN-DE)" userId="1be7a072-4164-461c-b9ed-ae3c5d97c1a8" providerId="ADAL" clId="{F3F7C3C5-44EF-4A47-931E-CECA9FA76D3D}" dt="2022-04-26T09:22:39.184" v="2268" actId="21"/>
          <ac:graphicFrameMkLst>
            <pc:docMk/>
            <pc:sldMk cId="1199945453" sldId="2147374048"/>
            <ac:graphicFrameMk id="13" creationId="{2EBA6B15-1B6D-4F60-B40F-CECA720AF6E9}"/>
          </ac:graphicFrameMkLst>
        </pc:graphicFrameChg>
      </pc:sldChg>
      <pc:sldChg chg="addSp delSp modSp new mod">
        <pc:chgData name="Richerzhagen, Bjoern (T CED WLN-DE)" userId="1be7a072-4164-461c-b9ed-ae3c5d97c1a8" providerId="ADAL" clId="{F3F7C3C5-44EF-4A47-931E-CECA9FA76D3D}" dt="2022-04-26T11:19:20.047" v="3222" actId="20577"/>
        <pc:sldMkLst>
          <pc:docMk/>
          <pc:sldMk cId="1875315505" sldId="2147374048"/>
        </pc:sldMkLst>
        <pc:spChg chg="mod">
          <ac:chgData name="Richerzhagen, Bjoern (T CED WLN-DE)" userId="1be7a072-4164-461c-b9ed-ae3c5d97c1a8" providerId="ADAL" clId="{F3F7C3C5-44EF-4A47-931E-CECA9FA76D3D}" dt="2022-04-26T11:19:20.047" v="3222" actId="20577"/>
          <ac:spMkLst>
            <pc:docMk/>
            <pc:sldMk cId="1875315505" sldId="2147374048"/>
            <ac:spMk id="2" creationId="{89B56B8D-C48B-4733-A54A-3D0CEFFB76E9}"/>
          </ac:spMkLst>
        </pc:spChg>
        <pc:spChg chg="del mod">
          <ac:chgData name="Richerzhagen, Bjoern (T CED WLN-DE)" userId="1be7a072-4164-461c-b9ed-ae3c5d97c1a8" providerId="ADAL" clId="{F3F7C3C5-44EF-4A47-931E-CECA9FA76D3D}" dt="2022-04-26T09:43:03.877" v="2797" actId="478"/>
          <ac:spMkLst>
            <pc:docMk/>
            <pc:sldMk cId="1875315505" sldId="2147374048"/>
            <ac:spMk id="3" creationId="{1045D960-BAB3-4D2C-913C-FD5957822D58}"/>
          </ac:spMkLst>
        </pc:spChg>
        <pc:spChg chg="add del mod">
          <ac:chgData name="Richerzhagen, Bjoern (T CED WLN-DE)" userId="1be7a072-4164-461c-b9ed-ae3c5d97c1a8" providerId="ADAL" clId="{F3F7C3C5-44EF-4A47-931E-CECA9FA76D3D}" dt="2022-04-26T11:13:20.618" v="3043" actId="478"/>
          <ac:spMkLst>
            <pc:docMk/>
            <pc:sldMk cId="1875315505" sldId="2147374048"/>
            <ac:spMk id="6" creationId="{D78E8290-4ED7-456A-9813-8F860F21594D}"/>
          </ac:spMkLst>
        </pc:spChg>
        <pc:graphicFrameChg chg="add del mod">
          <ac:chgData name="Richerzhagen, Bjoern (T CED WLN-DE)" userId="1be7a072-4164-461c-b9ed-ae3c5d97c1a8" providerId="ADAL" clId="{F3F7C3C5-44EF-4A47-931E-CECA9FA76D3D}" dt="2022-04-26T09:43:15.721" v="2800" actId="21"/>
          <ac:graphicFrameMkLst>
            <pc:docMk/>
            <pc:sldMk cId="1875315505" sldId="2147374048"/>
            <ac:graphicFrameMk id="4" creationId="{5CA6416A-B671-4903-A2A6-92BD8E6A1384}"/>
          </ac:graphicFrameMkLst>
        </pc:graphicFrameChg>
        <pc:graphicFrameChg chg="add mod modGraphic">
          <ac:chgData name="Richerzhagen, Bjoern (T CED WLN-DE)" userId="1be7a072-4164-461c-b9ed-ae3c5d97c1a8" providerId="ADAL" clId="{F3F7C3C5-44EF-4A47-931E-CECA9FA76D3D}" dt="2022-04-26T11:16:13.453" v="3167" actId="20577"/>
          <ac:graphicFrameMkLst>
            <pc:docMk/>
            <pc:sldMk cId="1875315505" sldId="2147374048"/>
            <ac:graphicFrameMk id="5" creationId="{6B3E64EA-692D-489A-816B-85A3345A8D45}"/>
          </ac:graphicFrameMkLst>
        </pc:graphicFrameChg>
      </pc:sldChg>
      <pc:sldChg chg="addSp modSp add del mod">
        <pc:chgData name="Richerzhagen, Bjoern (T CED WLN-DE)" userId="1be7a072-4164-461c-b9ed-ae3c5d97c1a8" providerId="ADAL" clId="{F3F7C3C5-44EF-4A47-931E-CECA9FA76D3D}" dt="2022-04-26T12:54:08.117" v="4043" actId="2696"/>
        <pc:sldMkLst>
          <pc:docMk/>
          <pc:sldMk cId="364793783" sldId="2147374049"/>
        </pc:sldMkLst>
        <pc:spChg chg="mod">
          <ac:chgData name="Richerzhagen, Bjoern (T CED WLN-DE)" userId="1be7a072-4164-461c-b9ed-ae3c5d97c1a8" providerId="ADAL" clId="{F3F7C3C5-44EF-4A47-931E-CECA9FA76D3D}" dt="2022-04-26T12:53:22.417" v="4026" actId="20577"/>
          <ac:spMkLst>
            <pc:docMk/>
            <pc:sldMk cId="364793783" sldId="2147374049"/>
            <ac:spMk id="4" creationId="{2BAF6A41-6E9C-4F8E-A6AD-709BB22D68F1}"/>
          </ac:spMkLst>
        </pc:spChg>
        <pc:spChg chg="mod">
          <ac:chgData name="Richerzhagen, Bjoern (T CED WLN-DE)" userId="1be7a072-4164-461c-b9ed-ae3c5d97c1a8" providerId="ADAL" clId="{F3F7C3C5-44EF-4A47-931E-CECA9FA76D3D}" dt="2022-04-26T12:54:07.784" v="4041" actId="12"/>
          <ac:spMkLst>
            <pc:docMk/>
            <pc:sldMk cId="364793783" sldId="2147374049"/>
            <ac:spMk id="5" creationId="{DE0F5CA8-90B5-4B74-B588-224BFA774738}"/>
          </ac:spMkLst>
        </pc:spChg>
        <pc:picChg chg="add mod">
          <ac:chgData name="Richerzhagen, Bjoern (T CED WLN-DE)" userId="1be7a072-4164-461c-b9ed-ae3c5d97c1a8" providerId="ADAL" clId="{F3F7C3C5-44EF-4A47-931E-CECA9FA76D3D}" dt="2022-04-26T12:53:51.144" v="4031" actId="1076"/>
          <ac:picMkLst>
            <pc:docMk/>
            <pc:sldMk cId="364793783" sldId="2147374049"/>
            <ac:picMk id="6" creationId="{EDCA518F-4EC5-465A-9DCE-6AE79FFE743A}"/>
          </ac:picMkLst>
        </pc:picChg>
      </pc:sldChg>
      <pc:sldChg chg="modSp add mod">
        <pc:chgData name="Richerzhagen, Bjoern (T CED WLN-DE)" userId="1be7a072-4164-461c-b9ed-ae3c5d97c1a8" providerId="ADAL" clId="{F3F7C3C5-44EF-4A47-931E-CECA9FA76D3D}" dt="2022-04-26T12:55:15.169" v="4124" actId="1035"/>
        <pc:sldMkLst>
          <pc:docMk/>
          <pc:sldMk cId="105119658" sldId="2147374050"/>
        </pc:sldMkLst>
        <pc:spChg chg="mod">
          <ac:chgData name="Richerzhagen, Bjoern (T CED WLN-DE)" userId="1be7a072-4164-461c-b9ed-ae3c5d97c1a8" providerId="ADAL" clId="{F3F7C3C5-44EF-4A47-931E-CECA9FA76D3D}" dt="2022-04-26T12:54:49.677" v="4115" actId="1036"/>
          <ac:spMkLst>
            <pc:docMk/>
            <pc:sldMk cId="105119658" sldId="2147374050"/>
            <ac:spMk id="4" creationId="{2BAF6A41-6E9C-4F8E-A6AD-709BB22D68F1}"/>
          </ac:spMkLst>
        </pc:spChg>
        <pc:spChg chg="mod">
          <ac:chgData name="Richerzhagen, Bjoern (T CED WLN-DE)" userId="1be7a072-4164-461c-b9ed-ae3c5d97c1a8" providerId="ADAL" clId="{F3F7C3C5-44EF-4A47-931E-CECA9FA76D3D}" dt="2022-04-26T12:54:44.971" v="4088" actId="1036"/>
          <ac:spMkLst>
            <pc:docMk/>
            <pc:sldMk cId="105119658" sldId="2147374050"/>
            <ac:spMk id="5" creationId="{DE0F5CA8-90B5-4B74-B588-224BFA774738}"/>
          </ac:spMkLst>
        </pc:spChg>
        <pc:picChg chg="mod">
          <ac:chgData name="Richerzhagen, Bjoern (T CED WLN-DE)" userId="1be7a072-4164-461c-b9ed-ae3c5d97c1a8" providerId="ADAL" clId="{F3F7C3C5-44EF-4A47-931E-CECA9FA76D3D}" dt="2022-04-26T12:55:15.169" v="4124" actId="1035"/>
          <ac:picMkLst>
            <pc:docMk/>
            <pc:sldMk cId="105119658" sldId="2147374050"/>
            <ac:picMk id="6" creationId="{EDCA518F-4EC5-465A-9DCE-6AE79FFE743A}"/>
          </ac:picMkLst>
        </pc:picChg>
      </pc:sldChg>
    </pc:docChg>
  </pc:docChgLst>
  <pc:docChgLst>
    <pc:chgData name="Patrik Rugeland" userId="46fad7cd-ba53-4989-b08e-26ff1c015f87" providerId="ADAL" clId="{B937E298-4D2D-410B-A83B-E577D16677BD}"/>
    <pc:docChg chg="modSld">
      <pc:chgData name="Patrik Rugeland" userId="46fad7cd-ba53-4989-b08e-26ff1c015f87" providerId="ADAL" clId="{B937E298-4D2D-410B-A83B-E577D16677BD}" dt="2022-02-08T12:27:43.784" v="94" actId="1076"/>
      <pc:docMkLst>
        <pc:docMk/>
      </pc:docMkLst>
      <pc:sldChg chg="modSp mod">
        <pc:chgData name="Patrik Rugeland" userId="46fad7cd-ba53-4989-b08e-26ff1c015f87" providerId="ADAL" clId="{B937E298-4D2D-410B-A83B-E577D16677BD}" dt="2022-02-08T11:21:28.872" v="56" actId="20577"/>
        <pc:sldMkLst>
          <pc:docMk/>
          <pc:sldMk cId="612618692" sldId="269"/>
        </pc:sldMkLst>
        <pc:spChg chg="mod">
          <ac:chgData name="Patrik Rugeland" userId="46fad7cd-ba53-4989-b08e-26ff1c015f87" providerId="ADAL" clId="{B937E298-4D2D-410B-A83B-E577D16677BD}" dt="2022-02-08T11:21:28.872" v="56" actId="20577"/>
          <ac:spMkLst>
            <pc:docMk/>
            <pc:sldMk cId="612618692" sldId="269"/>
            <ac:spMk id="5" creationId="{53B56189-0A16-4F1E-89FD-4934B7F05683}"/>
          </ac:spMkLst>
        </pc:spChg>
      </pc:sldChg>
      <pc:sldChg chg="modSp mod">
        <pc:chgData name="Patrik Rugeland" userId="46fad7cd-ba53-4989-b08e-26ff1c015f87" providerId="ADAL" clId="{B937E298-4D2D-410B-A83B-E577D16677BD}" dt="2022-02-08T12:27:43.784" v="94" actId="1076"/>
        <pc:sldMkLst>
          <pc:docMk/>
          <pc:sldMk cId="1308318402" sldId="272"/>
        </pc:sldMkLst>
        <pc:spChg chg="mod">
          <ac:chgData name="Patrik Rugeland" userId="46fad7cd-ba53-4989-b08e-26ff1c015f87" providerId="ADAL" clId="{B937E298-4D2D-410B-A83B-E577D16677BD}" dt="2022-02-08T12:27:40.914" v="93" actId="20577"/>
          <ac:spMkLst>
            <pc:docMk/>
            <pc:sldMk cId="1308318402" sldId="272"/>
            <ac:spMk id="5" creationId="{BEC01742-76B6-48EE-B6AF-DC752D4816F9}"/>
          </ac:spMkLst>
        </pc:spChg>
        <pc:grpChg chg="mod">
          <ac:chgData name="Patrik Rugeland" userId="46fad7cd-ba53-4989-b08e-26ff1c015f87" providerId="ADAL" clId="{B937E298-4D2D-410B-A83B-E577D16677BD}" dt="2022-02-08T12:27:43.784" v="94" actId="1076"/>
          <ac:grpSpMkLst>
            <pc:docMk/>
            <pc:sldMk cId="1308318402" sldId="272"/>
            <ac:grpSpMk id="6" creationId="{8C88570F-75E8-4CFD-A6A3-1B402C548E84}"/>
          </ac:grpSpMkLst>
        </pc:gr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42C74E6-015A-BE42-A40D-3D75429885A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FI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0E9A033-EFDC-7745-8D0E-C81B1308476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2757A9-C426-2349-8020-8B2985617747}" type="datetimeFigureOut">
              <a:rPr lang="en-FI" smtClean="0"/>
              <a:t>09/09/2022</a:t>
            </a:fld>
            <a:endParaRPr lang="en-FI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DB5296-ED17-5D45-9C00-D1B1F02347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FI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D3903EF-5440-7440-A9CA-38A07BD9DD2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93112F-D4D8-0F40-81EF-1A8B98CDC3F3}" type="slidenum">
              <a:rPr lang="en-FI" smtClean="0"/>
              <a:t>‹Nr.›</a:t>
            </a:fld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3644591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FI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28EFF7-C650-7A47-82FB-93C6E40E4A4D}" type="datetimeFigureOut">
              <a:rPr lang="en-FI" smtClean="0"/>
              <a:t>09/09/2022</a:t>
            </a:fld>
            <a:endParaRPr lang="en-FI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FI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9BE32F-D846-0C49-A492-B6F7C4957F06}" type="slidenum">
              <a:rPr lang="en-FI" smtClean="0"/>
              <a:t>‹Nr.›</a:t>
            </a:fld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3743415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9BE32F-D846-0C49-A492-B6F7C4957F0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94666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9BE32F-D846-0C49-A492-B6F7C4957F06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11927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nd 3 icons (one for each topic, reuse on later slides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9BE32F-D846-0C49-A492-B6F7C4957F06}" type="slidenum">
              <a:rPr lang="en-FI" smtClean="0"/>
              <a:t>8</a:t>
            </a:fld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35600576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9BE32F-D846-0C49-A492-B6F7C4957F06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46950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800" dirty="0">
              <a:latin typeface="Times New Roman"/>
              <a:ea typeface="Arial Unicode MS"/>
              <a:cs typeface="Times New Roman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9BE32F-D846-0C49-A492-B6F7C4957F06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35527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>
              <a:latin typeface="Times New Roman"/>
              <a:ea typeface="Arial Unicode MS"/>
              <a:cs typeface="Times New Roman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9BE32F-D846-0C49-A492-B6F7C4957F06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01391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9BE32F-D846-0C49-A492-B6F7C4957F06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42395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9BE32F-D846-0C49-A492-B6F7C4957F06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76886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9BE32F-D846-0C49-A492-B6F7C4957F06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9951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xagon 12">
            <a:extLst>
              <a:ext uri="{FF2B5EF4-FFF2-40B4-BE49-F238E27FC236}">
                <a16:creationId xmlns:a16="http://schemas.microsoft.com/office/drawing/2014/main" id="{6CF1BB33-EC0E-F84A-A1EC-5DEF44B4E37B}"/>
              </a:ext>
            </a:extLst>
          </p:cNvPr>
          <p:cNvSpPr/>
          <p:nvPr userDrawn="1"/>
        </p:nvSpPr>
        <p:spPr>
          <a:xfrm>
            <a:off x="-1350" y="-3364"/>
            <a:ext cx="4575076" cy="965398"/>
          </a:xfrm>
          <a:custGeom>
            <a:avLst/>
            <a:gdLst>
              <a:gd name="connsiteX0" fmla="*/ 0 w 9777166"/>
              <a:gd name="connsiteY0" fmla="*/ 4214296 h 8428591"/>
              <a:gd name="connsiteX1" fmla="*/ 2107148 w 9777166"/>
              <a:gd name="connsiteY1" fmla="*/ 2 h 8428591"/>
              <a:gd name="connsiteX2" fmla="*/ 7670018 w 9777166"/>
              <a:gd name="connsiteY2" fmla="*/ 2 h 8428591"/>
              <a:gd name="connsiteX3" fmla="*/ 9777166 w 9777166"/>
              <a:gd name="connsiteY3" fmla="*/ 4214296 h 8428591"/>
              <a:gd name="connsiteX4" fmla="*/ 7670018 w 9777166"/>
              <a:gd name="connsiteY4" fmla="*/ 8428589 h 8428591"/>
              <a:gd name="connsiteX5" fmla="*/ 2107148 w 9777166"/>
              <a:gd name="connsiteY5" fmla="*/ 8428589 h 8428591"/>
              <a:gd name="connsiteX6" fmla="*/ 0 w 9777166"/>
              <a:gd name="connsiteY6" fmla="*/ 4214296 h 8428591"/>
              <a:gd name="connsiteX0" fmla="*/ 0 w 8368990"/>
              <a:gd name="connsiteY0" fmla="*/ 4214294 h 8428587"/>
              <a:gd name="connsiteX1" fmla="*/ 2107148 w 8368990"/>
              <a:gd name="connsiteY1" fmla="*/ 0 h 8428587"/>
              <a:gd name="connsiteX2" fmla="*/ 7670018 w 8368990"/>
              <a:gd name="connsiteY2" fmla="*/ 0 h 8428587"/>
              <a:gd name="connsiteX3" fmla="*/ 8368990 w 8368990"/>
              <a:gd name="connsiteY3" fmla="*/ 7039790 h 8428587"/>
              <a:gd name="connsiteX4" fmla="*/ 7670018 w 8368990"/>
              <a:gd name="connsiteY4" fmla="*/ 8428587 h 8428587"/>
              <a:gd name="connsiteX5" fmla="*/ 2107148 w 8368990"/>
              <a:gd name="connsiteY5" fmla="*/ 8428587 h 8428587"/>
              <a:gd name="connsiteX6" fmla="*/ 0 w 8368990"/>
              <a:gd name="connsiteY6" fmla="*/ 4214294 h 8428587"/>
              <a:gd name="connsiteX0" fmla="*/ 1321852 w 6261842"/>
              <a:gd name="connsiteY0" fmla="*/ 7524422 h 8428587"/>
              <a:gd name="connsiteX1" fmla="*/ 0 w 6261842"/>
              <a:gd name="connsiteY1" fmla="*/ 0 h 8428587"/>
              <a:gd name="connsiteX2" fmla="*/ 5562870 w 6261842"/>
              <a:gd name="connsiteY2" fmla="*/ 0 h 8428587"/>
              <a:gd name="connsiteX3" fmla="*/ 6261842 w 6261842"/>
              <a:gd name="connsiteY3" fmla="*/ 7039790 h 8428587"/>
              <a:gd name="connsiteX4" fmla="*/ 5562870 w 6261842"/>
              <a:gd name="connsiteY4" fmla="*/ 8428587 h 8428587"/>
              <a:gd name="connsiteX5" fmla="*/ 0 w 6261842"/>
              <a:gd name="connsiteY5" fmla="*/ 8428587 h 8428587"/>
              <a:gd name="connsiteX6" fmla="*/ 1321852 w 6261842"/>
              <a:gd name="connsiteY6" fmla="*/ 7524422 h 8428587"/>
              <a:gd name="connsiteX0" fmla="*/ 1321852 w 6261842"/>
              <a:gd name="connsiteY0" fmla="*/ 7524422 h 8428587"/>
              <a:gd name="connsiteX1" fmla="*/ 0 w 6261842"/>
              <a:gd name="connsiteY1" fmla="*/ 0 h 8428587"/>
              <a:gd name="connsiteX2" fmla="*/ 5562870 w 6261842"/>
              <a:gd name="connsiteY2" fmla="*/ 0 h 8428587"/>
              <a:gd name="connsiteX3" fmla="*/ 6261842 w 6261842"/>
              <a:gd name="connsiteY3" fmla="*/ 7039790 h 8428587"/>
              <a:gd name="connsiteX4" fmla="*/ 5562870 w 6261842"/>
              <a:gd name="connsiteY4" fmla="*/ 8428587 h 8428587"/>
              <a:gd name="connsiteX5" fmla="*/ 1316736 w 6261842"/>
              <a:gd name="connsiteY5" fmla="*/ 8428587 h 8428587"/>
              <a:gd name="connsiteX6" fmla="*/ 1321852 w 6261842"/>
              <a:gd name="connsiteY6" fmla="*/ 7524422 h 8428587"/>
              <a:gd name="connsiteX0" fmla="*/ 5116 w 4945106"/>
              <a:gd name="connsiteY0" fmla="*/ 7524422 h 8428587"/>
              <a:gd name="connsiteX1" fmla="*/ 4246134 w 4945106"/>
              <a:gd name="connsiteY1" fmla="*/ 0 h 8428587"/>
              <a:gd name="connsiteX2" fmla="*/ 4945106 w 4945106"/>
              <a:gd name="connsiteY2" fmla="*/ 7039790 h 8428587"/>
              <a:gd name="connsiteX3" fmla="*/ 4246134 w 4945106"/>
              <a:gd name="connsiteY3" fmla="*/ 8428587 h 8428587"/>
              <a:gd name="connsiteX4" fmla="*/ 0 w 4945106"/>
              <a:gd name="connsiteY4" fmla="*/ 8428587 h 8428587"/>
              <a:gd name="connsiteX5" fmla="*/ 5116 w 4945106"/>
              <a:gd name="connsiteY5" fmla="*/ 7524422 h 8428587"/>
              <a:gd name="connsiteX0" fmla="*/ 5116 w 4945106"/>
              <a:gd name="connsiteY0" fmla="*/ 484632 h 1388797"/>
              <a:gd name="connsiteX1" fmla="*/ 4945106 w 4945106"/>
              <a:gd name="connsiteY1" fmla="*/ 0 h 1388797"/>
              <a:gd name="connsiteX2" fmla="*/ 4246134 w 4945106"/>
              <a:gd name="connsiteY2" fmla="*/ 1388797 h 1388797"/>
              <a:gd name="connsiteX3" fmla="*/ 0 w 4945106"/>
              <a:gd name="connsiteY3" fmla="*/ 1388797 h 1388797"/>
              <a:gd name="connsiteX4" fmla="*/ 5116 w 4945106"/>
              <a:gd name="connsiteY4" fmla="*/ 484632 h 1388797"/>
              <a:gd name="connsiteX0" fmla="*/ 5116 w 4731627"/>
              <a:gd name="connsiteY0" fmla="*/ 61233 h 965398"/>
              <a:gd name="connsiteX1" fmla="*/ 4731627 w 4731627"/>
              <a:gd name="connsiteY1" fmla="*/ 0 h 965398"/>
              <a:gd name="connsiteX2" fmla="*/ 4246134 w 4731627"/>
              <a:gd name="connsiteY2" fmla="*/ 965398 h 965398"/>
              <a:gd name="connsiteX3" fmla="*/ 0 w 4731627"/>
              <a:gd name="connsiteY3" fmla="*/ 965398 h 965398"/>
              <a:gd name="connsiteX4" fmla="*/ 5116 w 4731627"/>
              <a:gd name="connsiteY4" fmla="*/ 61233 h 965398"/>
              <a:gd name="connsiteX0" fmla="*/ 150993 w 4731627"/>
              <a:gd name="connsiteY0" fmla="*/ 747 h 965398"/>
              <a:gd name="connsiteX1" fmla="*/ 4731627 w 4731627"/>
              <a:gd name="connsiteY1" fmla="*/ 0 h 965398"/>
              <a:gd name="connsiteX2" fmla="*/ 4246134 w 4731627"/>
              <a:gd name="connsiteY2" fmla="*/ 965398 h 965398"/>
              <a:gd name="connsiteX3" fmla="*/ 0 w 4731627"/>
              <a:gd name="connsiteY3" fmla="*/ 965398 h 965398"/>
              <a:gd name="connsiteX4" fmla="*/ 150993 w 4731627"/>
              <a:gd name="connsiteY4" fmla="*/ 747 h 965398"/>
              <a:gd name="connsiteX0" fmla="*/ 217 w 4580851"/>
              <a:gd name="connsiteY0" fmla="*/ 747 h 965398"/>
              <a:gd name="connsiteX1" fmla="*/ 4580851 w 4580851"/>
              <a:gd name="connsiteY1" fmla="*/ 0 h 965398"/>
              <a:gd name="connsiteX2" fmla="*/ 4095358 w 4580851"/>
              <a:gd name="connsiteY2" fmla="*/ 965398 h 965398"/>
              <a:gd name="connsiteX3" fmla="*/ 5775 w 4580851"/>
              <a:gd name="connsiteY3" fmla="*/ 965398 h 965398"/>
              <a:gd name="connsiteX4" fmla="*/ 217 w 4580851"/>
              <a:gd name="connsiteY4" fmla="*/ 747 h 965398"/>
              <a:gd name="connsiteX0" fmla="*/ 217 w 4580851"/>
              <a:gd name="connsiteY0" fmla="*/ 0 h 968209"/>
              <a:gd name="connsiteX1" fmla="*/ 4580851 w 4580851"/>
              <a:gd name="connsiteY1" fmla="*/ 2811 h 968209"/>
              <a:gd name="connsiteX2" fmla="*/ 4095358 w 4580851"/>
              <a:gd name="connsiteY2" fmla="*/ 968209 h 968209"/>
              <a:gd name="connsiteX3" fmla="*/ 5775 w 4580851"/>
              <a:gd name="connsiteY3" fmla="*/ 968209 h 968209"/>
              <a:gd name="connsiteX4" fmla="*/ 217 w 4580851"/>
              <a:gd name="connsiteY4" fmla="*/ 0 h 968209"/>
              <a:gd name="connsiteX0" fmla="*/ 792 w 4575076"/>
              <a:gd name="connsiteY0" fmla="*/ 364 h 965398"/>
              <a:gd name="connsiteX1" fmla="*/ 4575076 w 4575076"/>
              <a:gd name="connsiteY1" fmla="*/ 0 h 965398"/>
              <a:gd name="connsiteX2" fmla="*/ 4089583 w 4575076"/>
              <a:gd name="connsiteY2" fmla="*/ 965398 h 965398"/>
              <a:gd name="connsiteX3" fmla="*/ 0 w 4575076"/>
              <a:gd name="connsiteY3" fmla="*/ 965398 h 965398"/>
              <a:gd name="connsiteX4" fmla="*/ 792 w 4575076"/>
              <a:gd name="connsiteY4" fmla="*/ 364 h 965398"/>
              <a:gd name="connsiteX0" fmla="*/ 317 w 4577776"/>
              <a:gd name="connsiteY0" fmla="*/ 364 h 965398"/>
              <a:gd name="connsiteX1" fmla="*/ 4577776 w 4577776"/>
              <a:gd name="connsiteY1" fmla="*/ 0 h 965398"/>
              <a:gd name="connsiteX2" fmla="*/ 4092283 w 4577776"/>
              <a:gd name="connsiteY2" fmla="*/ 965398 h 965398"/>
              <a:gd name="connsiteX3" fmla="*/ 2700 w 4577776"/>
              <a:gd name="connsiteY3" fmla="*/ 965398 h 965398"/>
              <a:gd name="connsiteX4" fmla="*/ 317 w 4577776"/>
              <a:gd name="connsiteY4" fmla="*/ 364 h 965398"/>
              <a:gd name="connsiteX0" fmla="*/ 792 w 4575076"/>
              <a:gd name="connsiteY0" fmla="*/ 3539 h 965398"/>
              <a:gd name="connsiteX1" fmla="*/ 4575076 w 4575076"/>
              <a:gd name="connsiteY1" fmla="*/ 0 h 965398"/>
              <a:gd name="connsiteX2" fmla="*/ 4089583 w 4575076"/>
              <a:gd name="connsiteY2" fmla="*/ 965398 h 965398"/>
              <a:gd name="connsiteX3" fmla="*/ 0 w 4575076"/>
              <a:gd name="connsiteY3" fmla="*/ 965398 h 965398"/>
              <a:gd name="connsiteX4" fmla="*/ 792 w 4575076"/>
              <a:gd name="connsiteY4" fmla="*/ 3539 h 965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75076" h="965398">
                <a:moveTo>
                  <a:pt x="792" y="3539"/>
                </a:moveTo>
                <a:lnTo>
                  <a:pt x="4575076" y="0"/>
                </a:lnTo>
                <a:lnTo>
                  <a:pt x="4089583" y="965398"/>
                </a:lnTo>
                <a:lnTo>
                  <a:pt x="0" y="965398"/>
                </a:lnTo>
                <a:cubicBezTo>
                  <a:pt x="1705" y="664010"/>
                  <a:pt x="-913" y="304927"/>
                  <a:pt x="792" y="3539"/>
                </a:cubicBezTo>
                <a:close/>
              </a:path>
            </a:pathLst>
          </a:custGeom>
          <a:solidFill>
            <a:srgbClr val="006AB6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D224A6-AE7F-A849-824E-C33BD98256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515" y="-1"/>
            <a:ext cx="10247270" cy="957059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CC25ED-55C9-F641-9E94-4A6F05D899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515" y="1074822"/>
            <a:ext cx="11432964" cy="537621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801CBA-0E7F-FD4F-A11F-D390D6EF29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-10827327" y="6254040"/>
            <a:ext cx="2743200" cy="365125"/>
          </a:xfrm>
        </p:spPr>
        <p:txBody>
          <a:bodyPr/>
          <a:lstStyle/>
          <a:p>
            <a:fld id="{978044AF-CED4-0041-B851-6374C8DF4BD0}" type="datetimeFigureOut">
              <a:rPr lang="en-FI" smtClean="0"/>
              <a:t>09/09/2022</a:t>
            </a:fld>
            <a:endParaRPr lang="en-FI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6B1D8EF0-E0AD-4D46-9E41-E2FE2E07A71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26750" y="107806"/>
            <a:ext cx="1054100" cy="741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77918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C445EA-74A3-BF44-BC12-6B4C2D6759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effectLst>
            <a:outerShdw blurRad="254000" algn="tl" rotWithShape="0">
              <a:prstClr val="black">
                <a:alpha val="40000"/>
              </a:prstClr>
            </a:outerShdw>
          </a:effectLst>
        </p:spPr>
        <p:txBody>
          <a:bodyPr anchor="b">
            <a:normAutofit/>
          </a:bodyPr>
          <a:lstStyle>
            <a:lvl1pPr>
              <a:defRPr sz="4000" b="1"/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6F5873-AF24-E34A-A3DC-986E8F2FD2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734888"/>
            <a:ext cx="10515600" cy="1306635"/>
          </a:xfrm>
          <a:effectLst>
            <a:outerShdw blurRad="254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CEF1DF66-6CC7-2E44-98C1-553EB2EDF19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830644" y="107806"/>
            <a:ext cx="1054100" cy="741443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23B5FC-0CCA-AF44-B13C-CA3DF49E08B9}"/>
              </a:ext>
            </a:extLst>
          </p:cNvPr>
          <p:cNvCxnSpPr>
            <a:cxnSpLocks/>
          </p:cNvCxnSpPr>
          <p:nvPr userDrawn="1"/>
        </p:nvCxnSpPr>
        <p:spPr>
          <a:xfrm>
            <a:off x="838200" y="4633212"/>
            <a:ext cx="10509250" cy="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58807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C445EA-74A3-BF44-BC12-6B4C2D6759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effectLst>
            <a:outerShdw blurRad="254000" algn="tl" rotWithShape="0">
              <a:prstClr val="black">
                <a:alpha val="40000"/>
              </a:prstClr>
            </a:outerShdw>
          </a:effectLst>
        </p:spPr>
        <p:txBody>
          <a:bodyPr anchor="b">
            <a:normAutofit/>
          </a:bodyPr>
          <a:lstStyle>
            <a:lvl1pPr>
              <a:defRPr sz="4000" b="1"/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6F5873-AF24-E34A-A3DC-986E8F2FD2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734888"/>
            <a:ext cx="10515600" cy="1306635"/>
          </a:xfrm>
          <a:effectLst>
            <a:outerShdw blurRad="254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CEF1DF66-6CC7-2E44-98C1-553EB2EDF19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830644" y="107806"/>
            <a:ext cx="1054100" cy="741443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23B5FC-0CCA-AF44-B13C-CA3DF49E08B9}"/>
              </a:ext>
            </a:extLst>
          </p:cNvPr>
          <p:cNvCxnSpPr>
            <a:cxnSpLocks/>
          </p:cNvCxnSpPr>
          <p:nvPr userDrawn="1"/>
        </p:nvCxnSpPr>
        <p:spPr>
          <a:xfrm>
            <a:off x="838200" y="4633212"/>
            <a:ext cx="10509250" cy="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30202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6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C445EA-74A3-BF44-BC12-6B4C2D6759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effectLst>
            <a:outerShdw blurRad="254000" algn="tl" rotWithShape="0">
              <a:prstClr val="black">
                <a:alpha val="40000"/>
              </a:prstClr>
            </a:outerShdw>
          </a:effectLst>
        </p:spPr>
        <p:txBody>
          <a:bodyPr anchor="b">
            <a:normAutofit/>
          </a:bodyPr>
          <a:lstStyle>
            <a:lvl1pPr>
              <a:defRPr sz="4000" b="1"/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6F5873-AF24-E34A-A3DC-986E8F2FD2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734888"/>
            <a:ext cx="10515600" cy="1306635"/>
          </a:xfrm>
          <a:effectLst>
            <a:outerShdw blurRad="254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CEF1DF66-6CC7-2E44-98C1-553EB2EDF19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830644" y="107806"/>
            <a:ext cx="1054100" cy="741443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23B5FC-0CCA-AF44-B13C-CA3DF49E08B9}"/>
              </a:ext>
            </a:extLst>
          </p:cNvPr>
          <p:cNvCxnSpPr>
            <a:cxnSpLocks/>
          </p:cNvCxnSpPr>
          <p:nvPr userDrawn="1"/>
        </p:nvCxnSpPr>
        <p:spPr>
          <a:xfrm>
            <a:off x="838200" y="4633212"/>
            <a:ext cx="10509250" cy="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36620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CC25ED-55C9-F641-9E94-4A6F05D899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515" y="391885"/>
            <a:ext cx="11432963" cy="605914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801CBA-0E7F-FD4F-A11F-D390D6EF29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-11880273" y="6254040"/>
            <a:ext cx="2743200" cy="365125"/>
          </a:xfrm>
        </p:spPr>
        <p:txBody>
          <a:bodyPr/>
          <a:lstStyle/>
          <a:p>
            <a:fld id="{978044AF-CED4-0041-B851-6374C8DF4BD0}" type="datetimeFigureOut">
              <a:rPr lang="en-FI" smtClean="0"/>
              <a:t>09/09/2022</a:t>
            </a:fld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31806504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CC25ED-55C9-F641-9E94-4A6F05D899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515" y="377457"/>
            <a:ext cx="11432963" cy="607357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801CBA-0E7F-FD4F-A11F-D390D6EF29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-11215255" y="6254040"/>
            <a:ext cx="2743200" cy="365125"/>
          </a:xfrm>
        </p:spPr>
        <p:txBody>
          <a:bodyPr/>
          <a:lstStyle/>
          <a:p>
            <a:fld id="{978044AF-CED4-0041-B851-6374C8DF4BD0}" type="datetimeFigureOut">
              <a:rPr lang="en-FI" smtClean="0"/>
              <a:t>09/09/2022</a:t>
            </a:fld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28911195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gradient">
    <p:bg>
      <p:bgPr>
        <a:gradFill>
          <a:gsLst>
            <a:gs pos="0">
              <a:schemeClr val="accent1"/>
            </a:gs>
            <a:gs pos="100000">
              <a:srgbClr val="006AB6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CC25ED-55C9-F641-9E94-4A6F05D899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515" y="377457"/>
            <a:ext cx="11432963" cy="607357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801CBA-0E7F-FD4F-A11F-D390D6EF29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-11215255" y="6254040"/>
            <a:ext cx="2743200" cy="365125"/>
          </a:xfrm>
        </p:spPr>
        <p:txBody>
          <a:bodyPr/>
          <a:lstStyle/>
          <a:p>
            <a:fld id="{978044AF-CED4-0041-B851-6374C8DF4BD0}" type="datetimeFigureOut">
              <a:rPr lang="en-FI" smtClean="0"/>
              <a:t>09/09/2022</a:t>
            </a:fld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18152568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Hexagon 12">
            <a:extLst>
              <a:ext uri="{FF2B5EF4-FFF2-40B4-BE49-F238E27FC236}">
                <a16:creationId xmlns:a16="http://schemas.microsoft.com/office/drawing/2014/main" id="{72D606ED-708E-F24B-AD2D-05B996D9990E}"/>
              </a:ext>
            </a:extLst>
          </p:cNvPr>
          <p:cNvSpPr/>
          <p:nvPr userDrawn="1"/>
        </p:nvSpPr>
        <p:spPr>
          <a:xfrm>
            <a:off x="-1350" y="-3364"/>
            <a:ext cx="4575076" cy="965398"/>
          </a:xfrm>
          <a:custGeom>
            <a:avLst/>
            <a:gdLst>
              <a:gd name="connsiteX0" fmla="*/ 0 w 9777166"/>
              <a:gd name="connsiteY0" fmla="*/ 4214296 h 8428591"/>
              <a:gd name="connsiteX1" fmla="*/ 2107148 w 9777166"/>
              <a:gd name="connsiteY1" fmla="*/ 2 h 8428591"/>
              <a:gd name="connsiteX2" fmla="*/ 7670018 w 9777166"/>
              <a:gd name="connsiteY2" fmla="*/ 2 h 8428591"/>
              <a:gd name="connsiteX3" fmla="*/ 9777166 w 9777166"/>
              <a:gd name="connsiteY3" fmla="*/ 4214296 h 8428591"/>
              <a:gd name="connsiteX4" fmla="*/ 7670018 w 9777166"/>
              <a:gd name="connsiteY4" fmla="*/ 8428589 h 8428591"/>
              <a:gd name="connsiteX5" fmla="*/ 2107148 w 9777166"/>
              <a:gd name="connsiteY5" fmla="*/ 8428589 h 8428591"/>
              <a:gd name="connsiteX6" fmla="*/ 0 w 9777166"/>
              <a:gd name="connsiteY6" fmla="*/ 4214296 h 8428591"/>
              <a:gd name="connsiteX0" fmla="*/ 0 w 8368990"/>
              <a:gd name="connsiteY0" fmla="*/ 4214294 h 8428587"/>
              <a:gd name="connsiteX1" fmla="*/ 2107148 w 8368990"/>
              <a:gd name="connsiteY1" fmla="*/ 0 h 8428587"/>
              <a:gd name="connsiteX2" fmla="*/ 7670018 w 8368990"/>
              <a:gd name="connsiteY2" fmla="*/ 0 h 8428587"/>
              <a:gd name="connsiteX3" fmla="*/ 8368990 w 8368990"/>
              <a:gd name="connsiteY3" fmla="*/ 7039790 h 8428587"/>
              <a:gd name="connsiteX4" fmla="*/ 7670018 w 8368990"/>
              <a:gd name="connsiteY4" fmla="*/ 8428587 h 8428587"/>
              <a:gd name="connsiteX5" fmla="*/ 2107148 w 8368990"/>
              <a:gd name="connsiteY5" fmla="*/ 8428587 h 8428587"/>
              <a:gd name="connsiteX6" fmla="*/ 0 w 8368990"/>
              <a:gd name="connsiteY6" fmla="*/ 4214294 h 8428587"/>
              <a:gd name="connsiteX0" fmla="*/ 1321852 w 6261842"/>
              <a:gd name="connsiteY0" fmla="*/ 7524422 h 8428587"/>
              <a:gd name="connsiteX1" fmla="*/ 0 w 6261842"/>
              <a:gd name="connsiteY1" fmla="*/ 0 h 8428587"/>
              <a:gd name="connsiteX2" fmla="*/ 5562870 w 6261842"/>
              <a:gd name="connsiteY2" fmla="*/ 0 h 8428587"/>
              <a:gd name="connsiteX3" fmla="*/ 6261842 w 6261842"/>
              <a:gd name="connsiteY3" fmla="*/ 7039790 h 8428587"/>
              <a:gd name="connsiteX4" fmla="*/ 5562870 w 6261842"/>
              <a:gd name="connsiteY4" fmla="*/ 8428587 h 8428587"/>
              <a:gd name="connsiteX5" fmla="*/ 0 w 6261842"/>
              <a:gd name="connsiteY5" fmla="*/ 8428587 h 8428587"/>
              <a:gd name="connsiteX6" fmla="*/ 1321852 w 6261842"/>
              <a:gd name="connsiteY6" fmla="*/ 7524422 h 8428587"/>
              <a:gd name="connsiteX0" fmla="*/ 1321852 w 6261842"/>
              <a:gd name="connsiteY0" fmla="*/ 7524422 h 8428587"/>
              <a:gd name="connsiteX1" fmla="*/ 0 w 6261842"/>
              <a:gd name="connsiteY1" fmla="*/ 0 h 8428587"/>
              <a:gd name="connsiteX2" fmla="*/ 5562870 w 6261842"/>
              <a:gd name="connsiteY2" fmla="*/ 0 h 8428587"/>
              <a:gd name="connsiteX3" fmla="*/ 6261842 w 6261842"/>
              <a:gd name="connsiteY3" fmla="*/ 7039790 h 8428587"/>
              <a:gd name="connsiteX4" fmla="*/ 5562870 w 6261842"/>
              <a:gd name="connsiteY4" fmla="*/ 8428587 h 8428587"/>
              <a:gd name="connsiteX5" fmla="*/ 1316736 w 6261842"/>
              <a:gd name="connsiteY5" fmla="*/ 8428587 h 8428587"/>
              <a:gd name="connsiteX6" fmla="*/ 1321852 w 6261842"/>
              <a:gd name="connsiteY6" fmla="*/ 7524422 h 8428587"/>
              <a:gd name="connsiteX0" fmla="*/ 5116 w 4945106"/>
              <a:gd name="connsiteY0" fmla="*/ 7524422 h 8428587"/>
              <a:gd name="connsiteX1" fmla="*/ 4246134 w 4945106"/>
              <a:gd name="connsiteY1" fmla="*/ 0 h 8428587"/>
              <a:gd name="connsiteX2" fmla="*/ 4945106 w 4945106"/>
              <a:gd name="connsiteY2" fmla="*/ 7039790 h 8428587"/>
              <a:gd name="connsiteX3" fmla="*/ 4246134 w 4945106"/>
              <a:gd name="connsiteY3" fmla="*/ 8428587 h 8428587"/>
              <a:gd name="connsiteX4" fmla="*/ 0 w 4945106"/>
              <a:gd name="connsiteY4" fmla="*/ 8428587 h 8428587"/>
              <a:gd name="connsiteX5" fmla="*/ 5116 w 4945106"/>
              <a:gd name="connsiteY5" fmla="*/ 7524422 h 8428587"/>
              <a:gd name="connsiteX0" fmla="*/ 5116 w 4945106"/>
              <a:gd name="connsiteY0" fmla="*/ 484632 h 1388797"/>
              <a:gd name="connsiteX1" fmla="*/ 4945106 w 4945106"/>
              <a:gd name="connsiteY1" fmla="*/ 0 h 1388797"/>
              <a:gd name="connsiteX2" fmla="*/ 4246134 w 4945106"/>
              <a:gd name="connsiteY2" fmla="*/ 1388797 h 1388797"/>
              <a:gd name="connsiteX3" fmla="*/ 0 w 4945106"/>
              <a:gd name="connsiteY3" fmla="*/ 1388797 h 1388797"/>
              <a:gd name="connsiteX4" fmla="*/ 5116 w 4945106"/>
              <a:gd name="connsiteY4" fmla="*/ 484632 h 1388797"/>
              <a:gd name="connsiteX0" fmla="*/ 5116 w 4731627"/>
              <a:gd name="connsiteY0" fmla="*/ 61233 h 965398"/>
              <a:gd name="connsiteX1" fmla="*/ 4731627 w 4731627"/>
              <a:gd name="connsiteY1" fmla="*/ 0 h 965398"/>
              <a:gd name="connsiteX2" fmla="*/ 4246134 w 4731627"/>
              <a:gd name="connsiteY2" fmla="*/ 965398 h 965398"/>
              <a:gd name="connsiteX3" fmla="*/ 0 w 4731627"/>
              <a:gd name="connsiteY3" fmla="*/ 965398 h 965398"/>
              <a:gd name="connsiteX4" fmla="*/ 5116 w 4731627"/>
              <a:gd name="connsiteY4" fmla="*/ 61233 h 965398"/>
              <a:gd name="connsiteX0" fmla="*/ 150993 w 4731627"/>
              <a:gd name="connsiteY0" fmla="*/ 747 h 965398"/>
              <a:gd name="connsiteX1" fmla="*/ 4731627 w 4731627"/>
              <a:gd name="connsiteY1" fmla="*/ 0 h 965398"/>
              <a:gd name="connsiteX2" fmla="*/ 4246134 w 4731627"/>
              <a:gd name="connsiteY2" fmla="*/ 965398 h 965398"/>
              <a:gd name="connsiteX3" fmla="*/ 0 w 4731627"/>
              <a:gd name="connsiteY3" fmla="*/ 965398 h 965398"/>
              <a:gd name="connsiteX4" fmla="*/ 150993 w 4731627"/>
              <a:gd name="connsiteY4" fmla="*/ 747 h 965398"/>
              <a:gd name="connsiteX0" fmla="*/ 217 w 4580851"/>
              <a:gd name="connsiteY0" fmla="*/ 747 h 965398"/>
              <a:gd name="connsiteX1" fmla="*/ 4580851 w 4580851"/>
              <a:gd name="connsiteY1" fmla="*/ 0 h 965398"/>
              <a:gd name="connsiteX2" fmla="*/ 4095358 w 4580851"/>
              <a:gd name="connsiteY2" fmla="*/ 965398 h 965398"/>
              <a:gd name="connsiteX3" fmla="*/ 5775 w 4580851"/>
              <a:gd name="connsiteY3" fmla="*/ 965398 h 965398"/>
              <a:gd name="connsiteX4" fmla="*/ 217 w 4580851"/>
              <a:gd name="connsiteY4" fmla="*/ 747 h 965398"/>
              <a:gd name="connsiteX0" fmla="*/ 217 w 4580851"/>
              <a:gd name="connsiteY0" fmla="*/ 0 h 968209"/>
              <a:gd name="connsiteX1" fmla="*/ 4580851 w 4580851"/>
              <a:gd name="connsiteY1" fmla="*/ 2811 h 968209"/>
              <a:gd name="connsiteX2" fmla="*/ 4095358 w 4580851"/>
              <a:gd name="connsiteY2" fmla="*/ 968209 h 968209"/>
              <a:gd name="connsiteX3" fmla="*/ 5775 w 4580851"/>
              <a:gd name="connsiteY3" fmla="*/ 968209 h 968209"/>
              <a:gd name="connsiteX4" fmla="*/ 217 w 4580851"/>
              <a:gd name="connsiteY4" fmla="*/ 0 h 968209"/>
              <a:gd name="connsiteX0" fmla="*/ 792 w 4575076"/>
              <a:gd name="connsiteY0" fmla="*/ 364 h 965398"/>
              <a:gd name="connsiteX1" fmla="*/ 4575076 w 4575076"/>
              <a:gd name="connsiteY1" fmla="*/ 0 h 965398"/>
              <a:gd name="connsiteX2" fmla="*/ 4089583 w 4575076"/>
              <a:gd name="connsiteY2" fmla="*/ 965398 h 965398"/>
              <a:gd name="connsiteX3" fmla="*/ 0 w 4575076"/>
              <a:gd name="connsiteY3" fmla="*/ 965398 h 965398"/>
              <a:gd name="connsiteX4" fmla="*/ 792 w 4575076"/>
              <a:gd name="connsiteY4" fmla="*/ 364 h 965398"/>
              <a:gd name="connsiteX0" fmla="*/ 317 w 4577776"/>
              <a:gd name="connsiteY0" fmla="*/ 364 h 965398"/>
              <a:gd name="connsiteX1" fmla="*/ 4577776 w 4577776"/>
              <a:gd name="connsiteY1" fmla="*/ 0 h 965398"/>
              <a:gd name="connsiteX2" fmla="*/ 4092283 w 4577776"/>
              <a:gd name="connsiteY2" fmla="*/ 965398 h 965398"/>
              <a:gd name="connsiteX3" fmla="*/ 2700 w 4577776"/>
              <a:gd name="connsiteY3" fmla="*/ 965398 h 965398"/>
              <a:gd name="connsiteX4" fmla="*/ 317 w 4577776"/>
              <a:gd name="connsiteY4" fmla="*/ 364 h 965398"/>
              <a:gd name="connsiteX0" fmla="*/ 792 w 4575076"/>
              <a:gd name="connsiteY0" fmla="*/ 3539 h 965398"/>
              <a:gd name="connsiteX1" fmla="*/ 4575076 w 4575076"/>
              <a:gd name="connsiteY1" fmla="*/ 0 h 965398"/>
              <a:gd name="connsiteX2" fmla="*/ 4089583 w 4575076"/>
              <a:gd name="connsiteY2" fmla="*/ 965398 h 965398"/>
              <a:gd name="connsiteX3" fmla="*/ 0 w 4575076"/>
              <a:gd name="connsiteY3" fmla="*/ 965398 h 965398"/>
              <a:gd name="connsiteX4" fmla="*/ 792 w 4575076"/>
              <a:gd name="connsiteY4" fmla="*/ 3539 h 965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75076" h="965398">
                <a:moveTo>
                  <a:pt x="792" y="3539"/>
                </a:moveTo>
                <a:lnTo>
                  <a:pt x="4575076" y="0"/>
                </a:lnTo>
                <a:lnTo>
                  <a:pt x="4089583" y="965398"/>
                </a:lnTo>
                <a:lnTo>
                  <a:pt x="0" y="965398"/>
                </a:lnTo>
                <a:cubicBezTo>
                  <a:pt x="1705" y="664010"/>
                  <a:pt x="-913" y="304927"/>
                  <a:pt x="792" y="3539"/>
                </a:cubicBezTo>
                <a:close/>
              </a:path>
            </a:pathLst>
          </a:custGeom>
          <a:solidFill>
            <a:srgbClr val="006AB6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717924-3210-724E-B87A-5331F1DB52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516" y="0"/>
            <a:ext cx="10247269" cy="957059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B0E36-3071-A44F-BACC-D883AC3D6C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9516" y="1116550"/>
            <a:ext cx="5618060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6AB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2420060-5FA7-CF4C-BBC8-52498251F8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9516" y="2073888"/>
            <a:ext cx="5618060" cy="437714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F6B1AF5-2863-0747-BC72-FDD194AB0E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116550"/>
            <a:ext cx="564027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6AB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5C265FF-1149-BB42-B22D-08F8DCD285E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073888"/>
            <a:ext cx="5640278" cy="437714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B8FB91F-9A75-7040-9914-398E04E76BA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-14872854" y="6254040"/>
            <a:ext cx="2743200" cy="365125"/>
          </a:xfrm>
        </p:spPr>
        <p:txBody>
          <a:bodyPr/>
          <a:lstStyle/>
          <a:p>
            <a:fld id="{978044AF-CED4-0041-B851-6374C8DF4BD0}" type="datetimeFigureOut">
              <a:rPr lang="en-FI" smtClean="0"/>
              <a:t>09/09/2022</a:t>
            </a:fld>
            <a:endParaRPr lang="en-FI"/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A1199221-2A48-F240-97A2-4263B43928A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26750" y="107806"/>
            <a:ext cx="1054100" cy="741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0544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-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Hexagon 12">
            <a:extLst>
              <a:ext uri="{FF2B5EF4-FFF2-40B4-BE49-F238E27FC236}">
                <a16:creationId xmlns:a16="http://schemas.microsoft.com/office/drawing/2014/main" id="{6B3A0B9E-9CD4-8047-982D-C0C5670F7CF1}"/>
              </a:ext>
            </a:extLst>
          </p:cNvPr>
          <p:cNvSpPr/>
          <p:nvPr userDrawn="1"/>
        </p:nvSpPr>
        <p:spPr>
          <a:xfrm>
            <a:off x="-1350" y="-3364"/>
            <a:ext cx="4575076" cy="965398"/>
          </a:xfrm>
          <a:custGeom>
            <a:avLst/>
            <a:gdLst>
              <a:gd name="connsiteX0" fmla="*/ 0 w 9777166"/>
              <a:gd name="connsiteY0" fmla="*/ 4214296 h 8428591"/>
              <a:gd name="connsiteX1" fmla="*/ 2107148 w 9777166"/>
              <a:gd name="connsiteY1" fmla="*/ 2 h 8428591"/>
              <a:gd name="connsiteX2" fmla="*/ 7670018 w 9777166"/>
              <a:gd name="connsiteY2" fmla="*/ 2 h 8428591"/>
              <a:gd name="connsiteX3" fmla="*/ 9777166 w 9777166"/>
              <a:gd name="connsiteY3" fmla="*/ 4214296 h 8428591"/>
              <a:gd name="connsiteX4" fmla="*/ 7670018 w 9777166"/>
              <a:gd name="connsiteY4" fmla="*/ 8428589 h 8428591"/>
              <a:gd name="connsiteX5" fmla="*/ 2107148 w 9777166"/>
              <a:gd name="connsiteY5" fmla="*/ 8428589 h 8428591"/>
              <a:gd name="connsiteX6" fmla="*/ 0 w 9777166"/>
              <a:gd name="connsiteY6" fmla="*/ 4214296 h 8428591"/>
              <a:gd name="connsiteX0" fmla="*/ 0 w 8368990"/>
              <a:gd name="connsiteY0" fmla="*/ 4214294 h 8428587"/>
              <a:gd name="connsiteX1" fmla="*/ 2107148 w 8368990"/>
              <a:gd name="connsiteY1" fmla="*/ 0 h 8428587"/>
              <a:gd name="connsiteX2" fmla="*/ 7670018 w 8368990"/>
              <a:gd name="connsiteY2" fmla="*/ 0 h 8428587"/>
              <a:gd name="connsiteX3" fmla="*/ 8368990 w 8368990"/>
              <a:gd name="connsiteY3" fmla="*/ 7039790 h 8428587"/>
              <a:gd name="connsiteX4" fmla="*/ 7670018 w 8368990"/>
              <a:gd name="connsiteY4" fmla="*/ 8428587 h 8428587"/>
              <a:gd name="connsiteX5" fmla="*/ 2107148 w 8368990"/>
              <a:gd name="connsiteY5" fmla="*/ 8428587 h 8428587"/>
              <a:gd name="connsiteX6" fmla="*/ 0 w 8368990"/>
              <a:gd name="connsiteY6" fmla="*/ 4214294 h 8428587"/>
              <a:gd name="connsiteX0" fmla="*/ 1321852 w 6261842"/>
              <a:gd name="connsiteY0" fmla="*/ 7524422 h 8428587"/>
              <a:gd name="connsiteX1" fmla="*/ 0 w 6261842"/>
              <a:gd name="connsiteY1" fmla="*/ 0 h 8428587"/>
              <a:gd name="connsiteX2" fmla="*/ 5562870 w 6261842"/>
              <a:gd name="connsiteY2" fmla="*/ 0 h 8428587"/>
              <a:gd name="connsiteX3" fmla="*/ 6261842 w 6261842"/>
              <a:gd name="connsiteY3" fmla="*/ 7039790 h 8428587"/>
              <a:gd name="connsiteX4" fmla="*/ 5562870 w 6261842"/>
              <a:gd name="connsiteY4" fmla="*/ 8428587 h 8428587"/>
              <a:gd name="connsiteX5" fmla="*/ 0 w 6261842"/>
              <a:gd name="connsiteY5" fmla="*/ 8428587 h 8428587"/>
              <a:gd name="connsiteX6" fmla="*/ 1321852 w 6261842"/>
              <a:gd name="connsiteY6" fmla="*/ 7524422 h 8428587"/>
              <a:gd name="connsiteX0" fmla="*/ 1321852 w 6261842"/>
              <a:gd name="connsiteY0" fmla="*/ 7524422 h 8428587"/>
              <a:gd name="connsiteX1" fmla="*/ 0 w 6261842"/>
              <a:gd name="connsiteY1" fmla="*/ 0 h 8428587"/>
              <a:gd name="connsiteX2" fmla="*/ 5562870 w 6261842"/>
              <a:gd name="connsiteY2" fmla="*/ 0 h 8428587"/>
              <a:gd name="connsiteX3" fmla="*/ 6261842 w 6261842"/>
              <a:gd name="connsiteY3" fmla="*/ 7039790 h 8428587"/>
              <a:gd name="connsiteX4" fmla="*/ 5562870 w 6261842"/>
              <a:gd name="connsiteY4" fmla="*/ 8428587 h 8428587"/>
              <a:gd name="connsiteX5" fmla="*/ 1316736 w 6261842"/>
              <a:gd name="connsiteY5" fmla="*/ 8428587 h 8428587"/>
              <a:gd name="connsiteX6" fmla="*/ 1321852 w 6261842"/>
              <a:gd name="connsiteY6" fmla="*/ 7524422 h 8428587"/>
              <a:gd name="connsiteX0" fmla="*/ 5116 w 4945106"/>
              <a:gd name="connsiteY0" fmla="*/ 7524422 h 8428587"/>
              <a:gd name="connsiteX1" fmla="*/ 4246134 w 4945106"/>
              <a:gd name="connsiteY1" fmla="*/ 0 h 8428587"/>
              <a:gd name="connsiteX2" fmla="*/ 4945106 w 4945106"/>
              <a:gd name="connsiteY2" fmla="*/ 7039790 h 8428587"/>
              <a:gd name="connsiteX3" fmla="*/ 4246134 w 4945106"/>
              <a:gd name="connsiteY3" fmla="*/ 8428587 h 8428587"/>
              <a:gd name="connsiteX4" fmla="*/ 0 w 4945106"/>
              <a:gd name="connsiteY4" fmla="*/ 8428587 h 8428587"/>
              <a:gd name="connsiteX5" fmla="*/ 5116 w 4945106"/>
              <a:gd name="connsiteY5" fmla="*/ 7524422 h 8428587"/>
              <a:gd name="connsiteX0" fmla="*/ 5116 w 4945106"/>
              <a:gd name="connsiteY0" fmla="*/ 484632 h 1388797"/>
              <a:gd name="connsiteX1" fmla="*/ 4945106 w 4945106"/>
              <a:gd name="connsiteY1" fmla="*/ 0 h 1388797"/>
              <a:gd name="connsiteX2" fmla="*/ 4246134 w 4945106"/>
              <a:gd name="connsiteY2" fmla="*/ 1388797 h 1388797"/>
              <a:gd name="connsiteX3" fmla="*/ 0 w 4945106"/>
              <a:gd name="connsiteY3" fmla="*/ 1388797 h 1388797"/>
              <a:gd name="connsiteX4" fmla="*/ 5116 w 4945106"/>
              <a:gd name="connsiteY4" fmla="*/ 484632 h 1388797"/>
              <a:gd name="connsiteX0" fmla="*/ 5116 w 4731627"/>
              <a:gd name="connsiteY0" fmla="*/ 61233 h 965398"/>
              <a:gd name="connsiteX1" fmla="*/ 4731627 w 4731627"/>
              <a:gd name="connsiteY1" fmla="*/ 0 h 965398"/>
              <a:gd name="connsiteX2" fmla="*/ 4246134 w 4731627"/>
              <a:gd name="connsiteY2" fmla="*/ 965398 h 965398"/>
              <a:gd name="connsiteX3" fmla="*/ 0 w 4731627"/>
              <a:gd name="connsiteY3" fmla="*/ 965398 h 965398"/>
              <a:gd name="connsiteX4" fmla="*/ 5116 w 4731627"/>
              <a:gd name="connsiteY4" fmla="*/ 61233 h 965398"/>
              <a:gd name="connsiteX0" fmla="*/ 150993 w 4731627"/>
              <a:gd name="connsiteY0" fmla="*/ 747 h 965398"/>
              <a:gd name="connsiteX1" fmla="*/ 4731627 w 4731627"/>
              <a:gd name="connsiteY1" fmla="*/ 0 h 965398"/>
              <a:gd name="connsiteX2" fmla="*/ 4246134 w 4731627"/>
              <a:gd name="connsiteY2" fmla="*/ 965398 h 965398"/>
              <a:gd name="connsiteX3" fmla="*/ 0 w 4731627"/>
              <a:gd name="connsiteY3" fmla="*/ 965398 h 965398"/>
              <a:gd name="connsiteX4" fmla="*/ 150993 w 4731627"/>
              <a:gd name="connsiteY4" fmla="*/ 747 h 965398"/>
              <a:gd name="connsiteX0" fmla="*/ 217 w 4580851"/>
              <a:gd name="connsiteY0" fmla="*/ 747 h 965398"/>
              <a:gd name="connsiteX1" fmla="*/ 4580851 w 4580851"/>
              <a:gd name="connsiteY1" fmla="*/ 0 h 965398"/>
              <a:gd name="connsiteX2" fmla="*/ 4095358 w 4580851"/>
              <a:gd name="connsiteY2" fmla="*/ 965398 h 965398"/>
              <a:gd name="connsiteX3" fmla="*/ 5775 w 4580851"/>
              <a:gd name="connsiteY3" fmla="*/ 965398 h 965398"/>
              <a:gd name="connsiteX4" fmla="*/ 217 w 4580851"/>
              <a:gd name="connsiteY4" fmla="*/ 747 h 965398"/>
              <a:gd name="connsiteX0" fmla="*/ 217 w 4580851"/>
              <a:gd name="connsiteY0" fmla="*/ 0 h 968209"/>
              <a:gd name="connsiteX1" fmla="*/ 4580851 w 4580851"/>
              <a:gd name="connsiteY1" fmla="*/ 2811 h 968209"/>
              <a:gd name="connsiteX2" fmla="*/ 4095358 w 4580851"/>
              <a:gd name="connsiteY2" fmla="*/ 968209 h 968209"/>
              <a:gd name="connsiteX3" fmla="*/ 5775 w 4580851"/>
              <a:gd name="connsiteY3" fmla="*/ 968209 h 968209"/>
              <a:gd name="connsiteX4" fmla="*/ 217 w 4580851"/>
              <a:gd name="connsiteY4" fmla="*/ 0 h 968209"/>
              <a:gd name="connsiteX0" fmla="*/ 792 w 4575076"/>
              <a:gd name="connsiteY0" fmla="*/ 364 h 965398"/>
              <a:gd name="connsiteX1" fmla="*/ 4575076 w 4575076"/>
              <a:gd name="connsiteY1" fmla="*/ 0 h 965398"/>
              <a:gd name="connsiteX2" fmla="*/ 4089583 w 4575076"/>
              <a:gd name="connsiteY2" fmla="*/ 965398 h 965398"/>
              <a:gd name="connsiteX3" fmla="*/ 0 w 4575076"/>
              <a:gd name="connsiteY3" fmla="*/ 965398 h 965398"/>
              <a:gd name="connsiteX4" fmla="*/ 792 w 4575076"/>
              <a:gd name="connsiteY4" fmla="*/ 364 h 965398"/>
              <a:gd name="connsiteX0" fmla="*/ 317 w 4577776"/>
              <a:gd name="connsiteY0" fmla="*/ 364 h 965398"/>
              <a:gd name="connsiteX1" fmla="*/ 4577776 w 4577776"/>
              <a:gd name="connsiteY1" fmla="*/ 0 h 965398"/>
              <a:gd name="connsiteX2" fmla="*/ 4092283 w 4577776"/>
              <a:gd name="connsiteY2" fmla="*/ 965398 h 965398"/>
              <a:gd name="connsiteX3" fmla="*/ 2700 w 4577776"/>
              <a:gd name="connsiteY3" fmla="*/ 965398 h 965398"/>
              <a:gd name="connsiteX4" fmla="*/ 317 w 4577776"/>
              <a:gd name="connsiteY4" fmla="*/ 364 h 965398"/>
              <a:gd name="connsiteX0" fmla="*/ 792 w 4575076"/>
              <a:gd name="connsiteY0" fmla="*/ 3539 h 965398"/>
              <a:gd name="connsiteX1" fmla="*/ 4575076 w 4575076"/>
              <a:gd name="connsiteY1" fmla="*/ 0 h 965398"/>
              <a:gd name="connsiteX2" fmla="*/ 4089583 w 4575076"/>
              <a:gd name="connsiteY2" fmla="*/ 965398 h 965398"/>
              <a:gd name="connsiteX3" fmla="*/ 0 w 4575076"/>
              <a:gd name="connsiteY3" fmla="*/ 965398 h 965398"/>
              <a:gd name="connsiteX4" fmla="*/ 792 w 4575076"/>
              <a:gd name="connsiteY4" fmla="*/ 3539 h 965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75076" h="965398">
                <a:moveTo>
                  <a:pt x="792" y="3539"/>
                </a:moveTo>
                <a:lnTo>
                  <a:pt x="4575076" y="0"/>
                </a:lnTo>
                <a:lnTo>
                  <a:pt x="4089583" y="965398"/>
                </a:lnTo>
                <a:lnTo>
                  <a:pt x="0" y="965398"/>
                </a:lnTo>
                <a:cubicBezTo>
                  <a:pt x="1705" y="664010"/>
                  <a:pt x="-913" y="304927"/>
                  <a:pt x="792" y="3539"/>
                </a:cubicBezTo>
                <a:close/>
              </a:path>
            </a:pathLst>
          </a:custGeom>
          <a:solidFill>
            <a:srgbClr val="006AB6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717924-3210-724E-B87A-5331F1DB52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516" y="0"/>
            <a:ext cx="10247269" cy="957043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B0E36-3071-A44F-BACC-D883AC3D6C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9516" y="1116550"/>
            <a:ext cx="5618060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2420060-5FA7-CF4C-BBC8-52498251F8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9516" y="2073888"/>
            <a:ext cx="5618060" cy="437713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F6B1AF5-2863-0747-BC72-FDD194AB0E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199" y="1116550"/>
            <a:ext cx="564027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5C265FF-1149-BB42-B22D-08F8DCD285E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073888"/>
            <a:ext cx="5640278" cy="437713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B8FB91F-9A75-7040-9914-398E04E76BA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-11714018" y="6254040"/>
            <a:ext cx="2743200" cy="365125"/>
          </a:xfrm>
        </p:spPr>
        <p:txBody>
          <a:bodyPr/>
          <a:lstStyle/>
          <a:p>
            <a:fld id="{978044AF-CED4-0041-B851-6374C8DF4BD0}" type="datetimeFigureOut">
              <a:rPr lang="en-FI" smtClean="0"/>
              <a:t>09/09/2022</a:t>
            </a:fld>
            <a:endParaRPr lang="en-FI"/>
          </a:p>
        </p:txBody>
      </p:sp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id="{FCEBC709-BAD3-4846-8787-9112553EB8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30644" y="107806"/>
            <a:ext cx="1054100" cy="741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89739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- gradient">
    <p:bg>
      <p:bgPr>
        <a:gradFill>
          <a:gsLst>
            <a:gs pos="0">
              <a:schemeClr val="accent1"/>
            </a:gs>
            <a:gs pos="100000">
              <a:srgbClr val="006AB6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Hexagon 12">
            <a:extLst>
              <a:ext uri="{FF2B5EF4-FFF2-40B4-BE49-F238E27FC236}">
                <a16:creationId xmlns:a16="http://schemas.microsoft.com/office/drawing/2014/main" id="{3D53F64D-A35A-9A4E-B689-DE0A474D2498}"/>
              </a:ext>
            </a:extLst>
          </p:cNvPr>
          <p:cNvSpPr/>
          <p:nvPr userDrawn="1"/>
        </p:nvSpPr>
        <p:spPr>
          <a:xfrm>
            <a:off x="-1350" y="-3364"/>
            <a:ext cx="4575076" cy="965398"/>
          </a:xfrm>
          <a:custGeom>
            <a:avLst/>
            <a:gdLst>
              <a:gd name="connsiteX0" fmla="*/ 0 w 9777166"/>
              <a:gd name="connsiteY0" fmla="*/ 4214296 h 8428591"/>
              <a:gd name="connsiteX1" fmla="*/ 2107148 w 9777166"/>
              <a:gd name="connsiteY1" fmla="*/ 2 h 8428591"/>
              <a:gd name="connsiteX2" fmla="*/ 7670018 w 9777166"/>
              <a:gd name="connsiteY2" fmla="*/ 2 h 8428591"/>
              <a:gd name="connsiteX3" fmla="*/ 9777166 w 9777166"/>
              <a:gd name="connsiteY3" fmla="*/ 4214296 h 8428591"/>
              <a:gd name="connsiteX4" fmla="*/ 7670018 w 9777166"/>
              <a:gd name="connsiteY4" fmla="*/ 8428589 h 8428591"/>
              <a:gd name="connsiteX5" fmla="*/ 2107148 w 9777166"/>
              <a:gd name="connsiteY5" fmla="*/ 8428589 h 8428591"/>
              <a:gd name="connsiteX6" fmla="*/ 0 w 9777166"/>
              <a:gd name="connsiteY6" fmla="*/ 4214296 h 8428591"/>
              <a:gd name="connsiteX0" fmla="*/ 0 w 8368990"/>
              <a:gd name="connsiteY0" fmla="*/ 4214294 h 8428587"/>
              <a:gd name="connsiteX1" fmla="*/ 2107148 w 8368990"/>
              <a:gd name="connsiteY1" fmla="*/ 0 h 8428587"/>
              <a:gd name="connsiteX2" fmla="*/ 7670018 w 8368990"/>
              <a:gd name="connsiteY2" fmla="*/ 0 h 8428587"/>
              <a:gd name="connsiteX3" fmla="*/ 8368990 w 8368990"/>
              <a:gd name="connsiteY3" fmla="*/ 7039790 h 8428587"/>
              <a:gd name="connsiteX4" fmla="*/ 7670018 w 8368990"/>
              <a:gd name="connsiteY4" fmla="*/ 8428587 h 8428587"/>
              <a:gd name="connsiteX5" fmla="*/ 2107148 w 8368990"/>
              <a:gd name="connsiteY5" fmla="*/ 8428587 h 8428587"/>
              <a:gd name="connsiteX6" fmla="*/ 0 w 8368990"/>
              <a:gd name="connsiteY6" fmla="*/ 4214294 h 8428587"/>
              <a:gd name="connsiteX0" fmla="*/ 1321852 w 6261842"/>
              <a:gd name="connsiteY0" fmla="*/ 7524422 h 8428587"/>
              <a:gd name="connsiteX1" fmla="*/ 0 w 6261842"/>
              <a:gd name="connsiteY1" fmla="*/ 0 h 8428587"/>
              <a:gd name="connsiteX2" fmla="*/ 5562870 w 6261842"/>
              <a:gd name="connsiteY2" fmla="*/ 0 h 8428587"/>
              <a:gd name="connsiteX3" fmla="*/ 6261842 w 6261842"/>
              <a:gd name="connsiteY3" fmla="*/ 7039790 h 8428587"/>
              <a:gd name="connsiteX4" fmla="*/ 5562870 w 6261842"/>
              <a:gd name="connsiteY4" fmla="*/ 8428587 h 8428587"/>
              <a:gd name="connsiteX5" fmla="*/ 0 w 6261842"/>
              <a:gd name="connsiteY5" fmla="*/ 8428587 h 8428587"/>
              <a:gd name="connsiteX6" fmla="*/ 1321852 w 6261842"/>
              <a:gd name="connsiteY6" fmla="*/ 7524422 h 8428587"/>
              <a:gd name="connsiteX0" fmla="*/ 1321852 w 6261842"/>
              <a:gd name="connsiteY0" fmla="*/ 7524422 h 8428587"/>
              <a:gd name="connsiteX1" fmla="*/ 0 w 6261842"/>
              <a:gd name="connsiteY1" fmla="*/ 0 h 8428587"/>
              <a:gd name="connsiteX2" fmla="*/ 5562870 w 6261842"/>
              <a:gd name="connsiteY2" fmla="*/ 0 h 8428587"/>
              <a:gd name="connsiteX3" fmla="*/ 6261842 w 6261842"/>
              <a:gd name="connsiteY3" fmla="*/ 7039790 h 8428587"/>
              <a:gd name="connsiteX4" fmla="*/ 5562870 w 6261842"/>
              <a:gd name="connsiteY4" fmla="*/ 8428587 h 8428587"/>
              <a:gd name="connsiteX5" fmla="*/ 1316736 w 6261842"/>
              <a:gd name="connsiteY5" fmla="*/ 8428587 h 8428587"/>
              <a:gd name="connsiteX6" fmla="*/ 1321852 w 6261842"/>
              <a:gd name="connsiteY6" fmla="*/ 7524422 h 8428587"/>
              <a:gd name="connsiteX0" fmla="*/ 5116 w 4945106"/>
              <a:gd name="connsiteY0" fmla="*/ 7524422 h 8428587"/>
              <a:gd name="connsiteX1" fmla="*/ 4246134 w 4945106"/>
              <a:gd name="connsiteY1" fmla="*/ 0 h 8428587"/>
              <a:gd name="connsiteX2" fmla="*/ 4945106 w 4945106"/>
              <a:gd name="connsiteY2" fmla="*/ 7039790 h 8428587"/>
              <a:gd name="connsiteX3" fmla="*/ 4246134 w 4945106"/>
              <a:gd name="connsiteY3" fmla="*/ 8428587 h 8428587"/>
              <a:gd name="connsiteX4" fmla="*/ 0 w 4945106"/>
              <a:gd name="connsiteY4" fmla="*/ 8428587 h 8428587"/>
              <a:gd name="connsiteX5" fmla="*/ 5116 w 4945106"/>
              <a:gd name="connsiteY5" fmla="*/ 7524422 h 8428587"/>
              <a:gd name="connsiteX0" fmla="*/ 5116 w 4945106"/>
              <a:gd name="connsiteY0" fmla="*/ 484632 h 1388797"/>
              <a:gd name="connsiteX1" fmla="*/ 4945106 w 4945106"/>
              <a:gd name="connsiteY1" fmla="*/ 0 h 1388797"/>
              <a:gd name="connsiteX2" fmla="*/ 4246134 w 4945106"/>
              <a:gd name="connsiteY2" fmla="*/ 1388797 h 1388797"/>
              <a:gd name="connsiteX3" fmla="*/ 0 w 4945106"/>
              <a:gd name="connsiteY3" fmla="*/ 1388797 h 1388797"/>
              <a:gd name="connsiteX4" fmla="*/ 5116 w 4945106"/>
              <a:gd name="connsiteY4" fmla="*/ 484632 h 1388797"/>
              <a:gd name="connsiteX0" fmla="*/ 5116 w 4731627"/>
              <a:gd name="connsiteY0" fmla="*/ 61233 h 965398"/>
              <a:gd name="connsiteX1" fmla="*/ 4731627 w 4731627"/>
              <a:gd name="connsiteY1" fmla="*/ 0 h 965398"/>
              <a:gd name="connsiteX2" fmla="*/ 4246134 w 4731627"/>
              <a:gd name="connsiteY2" fmla="*/ 965398 h 965398"/>
              <a:gd name="connsiteX3" fmla="*/ 0 w 4731627"/>
              <a:gd name="connsiteY3" fmla="*/ 965398 h 965398"/>
              <a:gd name="connsiteX4" fmla="*/ 5116 w 4731627"/>
              <a:gd name="connsiteY4" fmla="*/ 61233 h 965398"/>
              <a:gd name="connsiteX0" fmla="*/ 150993 w 4731627"/>
              <a:gd name="connsiteY0" fmla="*/ 747 h 965398"/>
              <a:gd name="connsiteX1" fmla="*/ 4731627 w 4731627"/>
              <a:gd name="connsiteY1" fmla="*/ 0 h 965398"/>
              <a:gd name="connsiteX2" fmla="*/ 4246134 w 4731627"/>
              <a:gd name="connsiteY2" fmla="*/ 965398 h 965398"/>
              <a:gd name="connsiteX3" fmla="*/ 0 w 4731627"/>
              <a:gd name="connsiteY3" fmla="*/ 965398 h 965398"/>
              <a:gd name="connsiteX4" fmla="*/ 150993 w 4731627"/>
              <a:gd name="connsiteY4" fmla="*/ 747 h 965398"/>
              <a:gd name="connsiteX0" fmla="*/ 217 w 4580851"/>
              <a:gd name="connsiteY0" fmla="*/ 747 h 965398"/>
              <a:gd name="connsiteX1" fmla="*/ 4580851 w 4580851"/>
              <a:gd name="connsiteY1" fmla="*/ 0 h 965398"/>
              <a:gd name="connsiteX2" fmla="*/ 4095358 w 4580851"/>
              <a:gd name="connsiteY2" fmla="*/ 965398 h 965398"/>
              <a:gd name="connsiteX3" fmla="*/ 5775 w 4580851"/>
              <a:gd name="connsiteY3" fmla="*/ 965398 h 965398"/>
              <a:gd name="connsiteX4" fmla="*/ 217 w 4580851"/>
              <a:gd name="connsiteY4" fmla="*/ 747 h 965398"/>
              <a:gd name="connsiteX0" fmla="*/ 217 w 4580851"/>
              <a:gd name="connsiteY0" fmla="*/ 0 h 968209"/>
              <a:gd name="connsiteX1" fmla="*/ 4580851 w 4580851"/>
              <a:gd name="connsiteY1" fmla="*/ 2811 h 968209"/>
              <a:gd name="connsiteX2" fmla="*/ 4095358 w 4580851"/>
              <a:gd name="connsiteY2" fmla="*/ 968209 h 968209"/>
              <a:gd name="connsiteX3" fmla="*/ 5775 w 4580851"/>
              <a:gd name="connsiteY3" fmla="*/ 968209 h 968209"/>
              <a:gd name="connsiteX4" fmla="*/ 217 w 4580851"/>
              <a:gd name="connsiteY4" fmla="*/ 0 h 968209"/>
              <a:gd name="connsiteX0" fmla="*/ 792 w 4575076"/>
              <a:gd name="connsiteY0" fmla="*/ 364 h 965398"/>
              <a:gd name="connsiteX1" fmla="*/ 4575076 w 4575076"/>
              <a:gd name="connsiteY1" fmla="*/ 0 h 965398"/>
              <a:gd name="connsiteX2" fmla="*/ 4089583 w 4575076"/>
              <a:gd name="connsiteY2" fmla="*/ 965398 h 965398"/>
              <a:gd name="connsiteX3" fmla="*/ 0 w 4575076"/>
              <a:gd name="connsiteY3" fmla="*/ 965398 h 965398"/>
              <a:gd name="connsiteX4" fmla="*/ 792 w 4575076"/>
              <a:gd name="connsiteY4" fmla="*/ 364 h 965398"/>
              <a:gd name="connsiteX0" fmla="*/ 317 w 4577776"/>
              <a:gd name="connsiteY0" fmla="*/ 364 h 965398"/>
              <a:gd name="connsiteX1" fmla="*/ 4577776 w 4577776"/>
              <a:gd name="connsiteY1" fmla="*/ 0 h 965398"/>
              <a:gd name="connsiteX2" fmla="*/ 4092283 w 4577776"/>
              <a:gd name="connsiteY2" fmla="*/ 965398 h 965398"/>
              <a:gd name="connsiteX3" fmla="*/ 2700 w 4577776"/>
              <a:gd name="connsiteY3" fmla="*/ 965398 h 965398"/>
              <a:gd name="connsiteX4" fmla="*/ 317 w 4577776"/>
              <a:gd name="connsiteY4" fmla="*/ 364 h 965398"/>
              <a:gd name="connsiteX0" fmla="*/ 792 w 4575076"/>
              <a:gd name="connsiteY0" fmla="*/ 3539 h 965398"/>
              <a:gd name="connsiteX1" fmla="*/ 4575076 w 4575076"/>
              <a:gd name="connsiteY1" fmla="*/ 0 h 965398"/>
              <a:gd name="connsiteX2" fmla="*/ 4089583 w 4575076"/>
              <a:gd name="connsiteY2" fmla="*/ 965398 h 965398"/>
              <a:gd name="connsiteX3" fmla="*/ 0 w 4575076"/>
              <a:gd name="connsiteY3" fmla="*/ 965398 h 965398"/>
              <a:gd name="connsiteX4" fmla="*/ 792 w 4575076"/>
              <a:gd name="connsiteY4" fmla="*/ 3539 h 965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75076" h="965398">
                <a:moveTo>
                  <a:pt x="792" y="3539"/>
                </a:moveTo>
                <a:lnTo>
                  <a:pt x="4575076" y="0"/>
                </a:lnTo>
                <a:lnTo>
                  <a:pt x="4089583" y="965398"/>
                </a:lnTo>
                <a:lnTo>
                  <a:pt x="0" y="965398"/>
                </a:lnTo>
                <a:cubicBezTo>
                  <a:pt x="1705" y="664010"/>
                  <a:pt x="-913" y="304927"/>
                  <a:pt x="792" y="3539"/>
                </a:cubicBezTo>
                <a:close/>
              </a:path>
            </a:pathLst>
          </a:custGeom>
          <a:solidFill>
            <a:srgbClr val="006AB6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717924-3210-724E-B87A-5331F1DB52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516" y="0"/>
            <a:ext cx="10247269" cy="957043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B0E36-3071-A44F-BACC-D883AC3D6C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9516" y="1116550"/>
            <a:ext cx="5618060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2420060-5FA7-CF4C-BBC8-52498251F8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9516" y="2073888"/>
            <a:ext cx="5618060" cy="437713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F6B1AF5-2863-0747-BC72-FDD194AB0E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199" y="1116550"/>
            <a:ext cx="564027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5C265FF-1149-BB42-B22D-08F8DCD285E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073888"/>
            <a:ext cx="5640278" cy="437713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B8FB91F-9A75-7040-9914-398E04E76BA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-11714018" y="6254040"/>
            <a:ext cx="2743200" cy="365125"/>
          </a:xfrm>
        </p:spPr>
        <p:txBody>
          <a:bodyPr/>
          <a:lstStyle/>
          <a:p>
            <a:fld id="{978044AF-CED4-0041-B851-6374C8DF4BD0}" type="datetimeFigureOut">
              <a:rPr lang="en-FI" smtClean="0"/>
              <a:t>09/09/2022</a:t>
            </a:fld>
            <a:endParaRPr lang="en-FI"/>
          </a:p>
        </p:txBody>
      </p:sp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id="{FCEBC709-BAD3-4846-8787-9112553EB8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30644" y="107806"/>
            <a:ext cx="1054100" cy="741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27501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Hexagon 12">
            <a:extLst>
              <a:ext uri="{FF2B5EF4-FFF2-40B4-BE49-F238E27FC236}">
                <a16:creationId xmlns:a16="http://schemas.microsoft.com/office/drawing/2014/main" id="{79D505F1-3162-DA4F-896F-7023C1D1560E}"/>
              </a:ext>
            </a:extLst>
          </p:cNvPr>
          <p:cNvSpPr/>
          <p:nvPr userDrawn="1"/>
        </p:nvSpPr>
        <p:spPr>
          <a:xfrm>
            <a:off x="-1350" y="-3364"/>
            <a:ext cx="4575076" cy="965398"/>
          </a:xfrm>
          <a:custGeom>
            <a:avLst/>
            <a:gdLst>
              <a:gd name="connsiteX0" fmla="*/ 0 w 9777166"/>
              <a:gd name="connsiteY0" fmla="*/ 4214296 h 8428591"/>
              <a:gd name="connsiteX1" fmla="*/ 2107148 w 9777166"/>
              <a:gd name="connsiteY1" fmla="*/ 2 h 8428591"/>
              <a:gd name="connsiteX2" fmla="*/ 7670018 w 9777166"/>
              <a:gd name="connsiteY2" fmla="*/ 2 h 8428591"/>
              <a:gd name="connsiteX3" fmla="*/ 9777166 w 9777166"/>
              <a:gd name="connsiteY3" fmla="*/ 4214296 h 8428591"/>
              <a:gd name="connsiteX4" fmla="*/ 7670018 w 9777166"/>
              <a:gd name="connsiteY4" fmla="*/ 8428589 h 8428591"/>
              <a:gd name="connsiteX5" fmla="*/ 2107148 w 9777166"/>
              <a:gd name="connsiteY5" fmla="*/ 8428589 h 8428591"/>
              <a:gd name="connsiteX6" fmla="*/ 0 w 9777166"/>
              <a:gd name="connsiteY6" fmla="*/ 4214296 h 8428591"/>
              <a:gd name="connsiteX0" fmla="*/ 0 w 8368990"/>
              <a:gd name="connsiteY0" fmla="*/ 4214294 h 8428587"/>
              <a:gd name="connsiteX1" fmla="*/ 2107148 w 8368990"/>
              <a:gd name="connsiteY1" fmla="*/ 0 h 8428587"/>
              <a:gd name="connsiteX2" fmla="*/ 7670018 w 8368990"/>
              <a:gd name="connsiteY2" fmla="*/ 0 h 8428587"/>
              <a:gd name="connsiteX3" fmla="*/ 8368990 w 8368990"/>
              <a:gd name="connsiteY3" fmla="*/ 7039790 h 8428587"/>
              <a:gd name="connsiteX4" fmla="*/ 7670018 w 8368990"/>
              <a:gd name="connsiteY4" fmla="*/ 8428587 h 8428587"/>
              <a:gd name="connsiteX5" fmla="*/ 2107148 w 8368990"/>
              <a:gd name="connsiteY5" fmla="*/ 8428587 h 8428587"/>
              <a:gd name="connsiteX6" fmla="*/ 0 w 8368990"/>
              <a:gd name="connsiteY6" fmla="*/ 4214294 h 8428587"/>
              <a:gd name="connsiteX0" fmla="*/ 1321852 w 6261842"/>
              <a:gd name="connsiteY0" fmla="*/ 7524422 h 8428587"/>
              <a:gd name="connsiteX1" fmla="*/ 0 w 6261842"/>
              <a:gd name="connsiteY1" fmla="*/ 0 h 8428587"/>
              <a:gd name="connsiteX2" fmla="*/ 5562870 w 6261842"/>
              <a:gd name="connsiteY2" fmla="*/ 0 h 8428587"/>
              <a:gd name="connsiteX3" fmla="*/ 6261842 w 6261842"/>
              <a:gd name="connsiteY3" fmla="*/ 7039790 h 8428587"/>
              <a:gd name="connsiteX4" fmla="*/ 5562870 w 6261842"/>
              <a:gd name="connsiteY4" fmla="*/ 8428587 h 8428587"/>
              <a:gd name="connsiteX5" fmla="*/ 0 w 6261842"/>
              <a:gd name="connsiteY5" fmla="*/ 8428587 h 8428587"/>
              <a:gd name="connsiteX6" fmla="*/ 1321852 w 6261842"/>
              <a:gd name="connsiteY6" fmla="*/ 7524422 h 8428587"/>
              <a:gd name="connsiteX0" fmla="*/ 1321852 w 6261842"/>
              <a:gd name="connsiteY0" fmla="*/ 7524422 h 8428587"/>
              <a:gd name="connsiteX1" fmla="*/ 0 w 6261842"/>
              <a:gd name="connsiteY1" fmla="*/ 0 h 8428587"/>
              <a:gd name="connsiteX2" fmla="*/ 5562870 w 6261842"/>
              <a:gd name="connsiteY2" fmla="*/ 0 h 8428587"/>
              <a:gd name="connsiteX3" fmla="*/ 6261842 w 6261842"/>
              <a:gd name="connsiteY3" fmla="*/ 7039790 h 8428587"/>
              <a:gd name="connsiteX4" fmla="*/ 5562870 w 6261842"/>
              <a:gd name="connsiteY4" fmla="*/ 8428587 h 8428587"/>
              <a:gd name="connsiteX5" fmla="*/ 1316736 w 6261842"/>
              <a:gd name="connsiteY5" fmla="*/ 8428587 h 8428587"/>
              <a:gd name="connsiteX6" fmla="*/ 1321852 w 6261842"/>
              <a:gd name="connsiteY6" fmla="*/ 7524422 h 8428587"/>
              <a:gd name="connsiteX0" fmla="*/ 5116 w 4945106"/>
              <a:gd name="connsiteY0" fmla="*/ 7524422 h 8428587"/>
              <a:gd name="connsiteX1" fmla="*/ 4246134 w 4945106"/>
              <a:gd name="connsiteY1" fmla="*/ 0 h 8428587"/>
              <a:gd name="connsiteX2" fmla="*/ 4945106 w 4945106"/>
              <a:gd name="connsiteY2" fmla="*/ 7039790 h 8428587"/>
              <a:gd name="connsiteX3" fmla="*/ 4246134 w 4945106"/>
              <a:gd name="connsiteY3" fmla="*/ 8428587 h 8428587"/>
              <a:gd name="connsiteX4" fmla="*/ 0 w 4945106"/>
              <a:gd name="connsiteY4" fmla="*/ 8428587 h 8428587"/>
              <a:gd name="connsiteX5" fmla="*/ 5116 w 4945106"/>
              <a:gd name="connsiteY5" fmla="*/ 7524422 h 8428587"/>
              <a:gd name="connsiteX0" fmla="*/ 5116 w 4945106"/>
              <a:gd name="connsiteY0" fmla="*/ 484632 h 1388797"/>
              <a:gd name="connsiteX1" fmla="*/ 4945106 w 4945106"/>
              <a:gd name="connsiteY1" fmla="*/ 0 h 1388797"/>
              <a:gd name="connsiteX2" fmla="*/ 4246134 w 4945106"/>
              <a:gd name="connsiteY2" fmla="*/ 1388797 h 1388797"/>
              <a:gd name="connsiteX3" fmla="*/ 0 w 4945106"/>
              <a:gd name="connsiteY3" fmla="*/ 1388797 h 1388797"/>
              <a:gd name="connsiteX4" fmla="*/ 5116 w 4945106"/>
              <a:gd name="connsiteY4" fmla="*/ 484632 h 1388797"/>
              <a:gd name="connsiteX0" fmla="*/ 5116 w 4731627"/>
              <a:gd name="connsiteY0" fmla="*/ 61233 h 965398"/>
              <a:gd name="connsiteX1" fmla="*/ 4731627 w 4731627"/>
              <a:gd name="connsiteY1" fmla="*/ 0 h 965398"/>
              <a:gd name="connsiteX2" fmla="*/ 4246134 w 4731627"/>
              <a:gd name="connsiteY2" fmla="*/ 965398 h 965398"/>
              <a:gd name="connsiteX3" fmla="*/ 0 w 4731627"/>
              <a:gd name="connsiteY3" fmla="*/ 965398 h 965398"/>
              <a:gd name="connsiteX4" fmla="*/ 5116 w 4731627"/>
              <a:gd name="connsiteY4" fmla="*/ 61233 h 965398"/>
              <a:gd name="connsiteX0" fmla="*/ 150993 w 4731627"/>
              <a:gd name="connsiteY0" fmla="*/ 747 h 965398"/>
              <a:gd name="connsiteX1" fmla="*/ 4731627 w 4731627"/>
              <a:gd name="connsiteY1" fmla="*/ 0 h 965398"/>
              <a:gd name="connsiteX2" fmla="*/ 4246134 w 4731627"/>
              <a:gd name="connsiteY2" fmla="*/ 965398 h 965398"/>
              <a:gd name="connsiteX3" fmla="*/ 0 w 4731627"/>
              <a:gd name="connsiteY3" fmla="*/ 965398 h 965398"/>
              <a:gd name="connsiteX4" fmla="*/ 150993 w 4731627"/>
              <a:gd name="connsiteY4" fmla="*/ 747 h 965398"/>
              <a:gd name="connsiteX0" fmla="*/ 217 w 4580851"/>
              <a:gd name="connsiteY0" fmla="*/ 747 h 965398"/>
              <a:gd name="connsiteX1" fmla="*/ 4580851 w 4580851"/>
              <a:gd name="connsiteY1" fmla="*/ 0 h 965398"/>
              <a:gd name="connsiteX2" fmla="*/ 4095358 w 4580851"/>
              <a:gd name="connsiteY2" fmla="*/ 965398 h 965398"/>
              <a:gd name="connsiteX3" fmla="*/ 5775 w 4580851"/>
              <a:gd name="connsiteY3" fmla="*/ 965398 h 965398"/>
              <a:gd name="connsiteX4" fmla="*/ 217 w 4580851"/>
              <a:gd name="connsiteY4" fmla="*/ 747 h 965398"/>
              <a:gd name="connsiteX0" fmla="*/ 217 w 4580851"/>
              <a:gd name="connsiteY0" fmla="*/ 0 h 968209"/>
              <a:gd name="connsiteX1" fmla="*/ 4580851 w 4580851"/>
              <a:gd name="connsiteY1" fmla="*/ 2811 h 968209"/>
              <a:gd name="connsiteX2" fmla="*/ 4095358 w 4580851"/>
              <a:gd name="connsiteY2" fmla="*/ 968209 h 968209"/>
              <a:gd name="connsiteX3" fmla="*/ 5775 w 4580851"/>
              <a:gd name="connsiteY3" fmla="*/ 968209 h 968209"/>
              <a:gd name="connsiteX4" fmla="*/ 217 w 4580851"/>
              <a:gd name="connsiteY4" fmla="*/ 0 h 968209"/>
              <a:gd name="connsiteX0" fmla="*/ 792 w 4575076"/>
              <a:gd name="connsiteY0" fmla="*/ 364 h 965398"/>
              <a:gd name="connsiteX1" fmla="*/ 4575076 w 4575076"/>
              <a:gd name="connsiteY1" fmla="*/ 0 h 965398"/>
              <a:gd name="connsiteX2" fmla="*/ 4089583 w 4575076"/>
              <a:gd name="connsiteY2" fmla="*/ 965398 h 965398"/>
              <a:gd name="connsiteX3" fmla="*/ 0 w 4575076"/>
              <a:gd name="connsiteY3" fmla="*/ 965398 h 965398"/>
              <a:gd name="connsiteX4" fmla="*/ 792 w 4575076"/>
              <a:gd name="connsiteY4" fmla="*/ 364 h 965398"/>
              <a:gd name="connsiteX0" fmla="*/ 317 w 4577776"/>
              <a:gd name="connsiteY0" fmla="*/ 364 h 965398"/>
              <a:gd name="connsiteX1" fmla="*/ 4577776 w 4577776"/>
              <a:gd name="connsiteY1" fmla="*/ 0 h 965398"/>
              <a:gd name="connsiteX2" fmla="*/ 4092283 w 4577776"/>
              <a:gd name="connsiteY2" fmla="*/ 965398 h 965398"/>
              <a:gd name="connsiteX3" fmla="*/ 2700 w 4577776"/>
              <a:gd name="connsiteY3" fmla="*/ 965398 h 965398"/>
              <a:gd name="connsiteX4" fmla="*/ 317 w 4577776"/>
              <a:gd name="connsiteY4" fmla="*/ 364 h 965398"/>
              <a:gd name="connsiteX0" fmla="*/ 792 w 4575076"/>
              <a:gd name="connsiteY0" fmla="*/ 3539 h 965398"/>
              <a:gd name="connsiteX1" fmla="*/ 4575076 w 4575076"/>
              <a:gd name="connsiteY1" fmla="*/ 0 h 965398"/>
              <a:gd name="connsiteX2" fmla="*/ 4089583 w 4575076"/>
              <a:gd name="connsiteY2" fmla="*/ 965398 h 965398"/>
              <a:gd name="connsiteX3" fmla="*/ 0 w 4575076"/>
              <a:gd name="connsiteY3" fmla="*/ 965398 h 965398"/>
              <a:gd name="connsiteX4" fmla="*/ 792 w 4575076"/>
              <a:gd name="connsiteY4" fmla="*/ 3539 h 965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75076" h="965398">
                <a:moveTo>
                  <a:pt x="792" y="3539"/>
                </a:moveTo>
                <a:lnTo>
                  <a:pt x="4575076" y="0"/>
                </a:lnTo>
                <a:lnTo>
                  <a:pt x="4089583" y="965398"/>
                </a:lnTo>
                <a:lnTo>
                  <a:pt x="0" y="965398"/>
                </a:lnTo>
                <a:cubicBezTo>
                  <a:pt x="1705" y="664010"/>
                  <a:pt x="-913" y="304927"/>
                  <a:pt x="792" y="3539"/>
                </a:cubicBezTo>
                <a:close/>
              </a:path>
            </a:pathLst>
          </a:custGeom>
          <a:solidFill>
            <a:srgbClr val="006AB6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717924-3210-724E-B87A-5331F1DB52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512" y="0"/>
            <a:ext cx="10247273" cy="957058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B0E36-3071-A44F-BACC-D883AC3D6C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9515" y="5111609"/>
            <a:ext cx="3535905" cy="1339405"/>
          </a:xfrm>
        </p:spPr>
        <p:txBody>
          <a:bodyPr anchor="t">
            <a:no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2420060-5FA7-CF4C-BBC8-52498251F8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8022" y="1354154"/>
            <a:ext cx="3547398" cy="347607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F6B1AF5-2863-0747-BC72-FDD194AB0E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332813" y="5111609"/>
            <a:ext cx="3535905" cy="1339405"/>
          </a:xfrm>
        </p:spPr>
        <p:txBody>
          <a:bodyPr anchor="t">
            <a:no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5C265FF-1149-BB42-B22D-08F8DCD285E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332814" y="1354154"/>
            <a:ext cx="3547784" cy="347607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B8FB91F-9A75-7040-9914-398E04E76BA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-13071763" y="6254040"/>
            <a:ext cx="2743200" cy="365125"/>
          </a:xfrm>
        </p:spPr>
        <p:txBody>
          <a:bodyPr/>
          <a:lstStyle/>
          <a:p>
            <a:fld id="{978044AF-CED4-0041-B851-6374C8DF4BD0}" type="datetimeFigureOut">
              <a:rPr lang="en-FI" smtClean="0"/>
              <a:t>09/09/2022</a:t>
            </a:fld>
            <a:endParaRPr lang="en-FI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610B09C2-05AD-414D-8E2F-C136291D20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86111" y="5111610"/>
            <a:ext cx="3535904" cy="1349886"/>
          </a:xfrm>
        </p:spPr>
        <p:txBody>
          <a:bodyPr anchor="t">
            <a:no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Content Placeholder 5">
            <a:extLst>
              <a:ext uri="{FF2B5EF4-FFF2-40B4-BE49-F238E27FC236}">
                <a16:creationId xmlns:a16="http://schemas.microsoft.com/office/drawing/2014/main" id="{78A10156-6CEC-984D-A243-D330AEE19F5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286492" y="1364412"/>
            <a:ext cx="3525986" cy="346136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pic>
        <p:nvPicPr>
          <p:cNvPr id="19" name="Picture 18" descr="A close up of a sign&#10;&#10;Description automatically generated">
            <a:extLst>
              <a:ext uri="{FF2B5EF4-FFF2-40B4-BE49-F238E27FC236}">
                <a16:creationId xmlns:a16="http://schemas.microsoft.com/office/drawing/2014/main" id="{7BD16DFD-31C8-F140-9A4D-A34BD518773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26750" y="107806"/>
            <a:ext cx="1054100" cy="741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29441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Hexagon 12">
            <a:extLst>
              <a:ext uri="{FF2B5EF4-FFF2-40B4-BE49-F238E27FC236}">
                <a16:creationId xmlns:a16="http://schemas.microsoft.com/office/drawing/2014/main" id="{7467807E-1187-494C-BA80-F78532662979}"/>
              </a:ext>
            </a:extLst>
          </p:cNvPr>
          <p:cNvSpPr/>
          <p:nvPr userDrawn="1"/>
        </p:nvSpPr>
        <p:spPr>
          <a:xfrm>
            <a:off x="-1350" y="-3364"/>
            <a:ext cx="4575076" cy="965398"/>
          </a:xfrm>
          <a:custGeom>
            <a:avLst/>
            <a:gdLst>
              <a:gd name="connsiteX0" fmla="*/ 0 w 9777166"/>
              <a:gd name="connsiteY0" fmla="*/ 4214296 h 8428591"/>
              <a:gd name="connsiteX1" fmla="*/ 2107148 w 9777166"/>
              <a:gd name="connsiteY1" fmla="*/ 2 h 8428591"/>
              <a:gd name="connsiteX2" fmla="*/ 7670018 w 9777166"/>
              <a:gd name="connsiteY2" fmla="*/ 2 h 8428591"/>
              <a:gd name="connsiteX3" fmla="*/ 9777166 w 9777166"/>
              <a:gd name="connsiteY3" fmla="*/ 4214296 h 8428591"/>
              <a:gd name="connsiteX4" fmla="*/ 7670018 w 9777166"/>
              <a:gd name="connsiteY4" fmla="*/ 8428589 h 8428591"/>
              <a:gd name="connsiteX5" fmla="*/ 2107148 w 9777166"/>
              <a:gd name="connsiteY5" fmla="*/ 8428589 h 8428591"/>
              <a:gd name="connsiteX6" fmla="*/ 0 w 9777166"/>
              <a:gd name="connsiteY6" fmla="*/ 4214296 h 8428591"/>
              <a:gd name="connsiteX0" fmla="*/ 0 w 8368990"/>
              <a:gd name="connsiteY0" fmla="*/ 4214294 h 8428587"/>
              <a:gd name="connsiteX1" fmla="*/ 2107148 w 8368990"/>
              <a:gd name="connsiteY1" fmla="*/ 0 h 8428587"/>
              <a:gd name="connsiteX2" fmla="*/ 7670018 w 8368990"/>
              <a:gd name="connsiteY2" fmla="*/ 0 h 8428587"/>
              <a:gd name="connsiteX3" fmla="*/ 8368990 w 8368990"/>
              <a:gd name="connsiteY3" fmla="*/ 7039790 h 8428587"/>
              <a:gd name="connsiteX4" fmla="*/ 7670018 w 8368990"/>
              <a:gd name="connsiteY4" fmla="*/ 8428587 h 8428587"/>
              <a:gd name="connsiteX5" fmla="*/ 2107148 w 8368990"/>
              <a:gd name="connsiteY5" fmla="*/ 8428587 h 8428587"/>
              <a:gd name="connsiteX6" fmla="*/ 0 w 8368990"/>
              <a:gd name="connsiteY6" fmla="*/ 4214294 h 8428587"/>
              <a:gd name="connsiteX0" fmla="*/ 1321852 w 6261842"/>
              <a:gd name="connsiteY0" fmla="*/ 7524422 h 8428587"/>
              <a:gd name="connsiteX1" fmla="*/ 0 w 6261842"/>
              <a:gd name="connsiteY1" fmla="*/ 0 h 8428587"/>
              <a:gd name="connsiteX2" fmla="*/ 5562870 w 6261842"/>
              <a:gd name="connsiteY2" fmla="*/ 0 h 8428587"/>
              <a:gd name="connsiteX3" fmla="*/ 6261842 w 6261842"/>
              <a:gd name="connsiteY3" fmla="*/ 7039790 h 8428587"/>
              <a:gd name="connsiteX4" fmla="*/ 5562870 w 6261842"/>
              <a:gd name="connsiteY4" fmla="*/ 8428587 h 8428587"/>
              <a:gd name="connsiteX5" fmla="*/ 0 w 6261842"/>
              <a:gd name="connsiteY5" fmla="*/ 8428587 h 8428587"/>
              <a:gd name="connsiteX6" fmla="*/ 1321852 w 6261842"/>
              <a:gd name="connsiteY6" fmla="*/ 7524422 h 8428587"/>
              <a:gd name="connsiteX0" fmla="*/ 1321852 w 6261842"/>
              <a:gd name="connsiteY0" fmla="*/ 7524422 h 8428587"/>
              <a:gd name="connsiteX1" fmla="*/ 0 w 6261842"/>
              <a:gd name="connsiteY1" fmla="*/ 0 h 8428587"/>
              <a:gd name="connsiteX2" fmla="*/ 5562870 w 6261842"/>
              <a:gd name="connsiteY2" fmla="*/ 0 h 8428587"/>
              <a:gd name="connsiteX3" fmla="*/ 6261842 w 6261842"/>
              <a:gd name="connsiteY3" fmla="*/ 7039790 h 8428587"/>
              <a:gd name="connsiteX4" fmla="*/ 5562870 w 6261842"/>
              <a:gd name="connsiteY4" fmla="*/ 8428587 h 8428587"/>
              <a:gd name="connsiteX5" fmla="*/ 1316736 w 6261842"/>
              <a:gd name="connsiteY5" fmla="*/ 8428587 h 8428587"/>
              <a:gd name="connsiteX6" fmla="*/ 1321852 w 6261842"/>
              <a:gd name="connsiteY6" fmla="*/ 7524422 h 8428587"/>
              <a:gd name="connsiteX0" fmla="*/ 5116 w 4945106"/>
              <a:gd name="connsiteY0" fmla="*/ 7524422 h 8428587"/>
              <a:gd name="connsiteX1" fmla="*/ 4246134 w 4945106"/>
              <a:gd name="connsiteY1" fmla="*/ 0 h 8428587"/>
              <a:gd name="connsiteX2" fmla="*/ 4945106 w 4945106"/>
              <a:gd name="connsiteY2" fmla="*/ 7039790 h 8428587"/>
              <a:gd name="connsiteX3" fmla="*/ 4246134 w 4945106"/>
              <a:gd name="connsiteY3" fmla="*/ 8428587 h 8428587"/>
              <a:gd name="connsiteX4" fmla="*/ 0 w 4945106"/>
              <a:gd name="connsiteY4" fmla="*/ 8428587 h 8428587"/>
              <a:gd name="connsiteX5" fmla="*/ 5116 w 4945106"/>
              <a:gd name="connsiteY5" fmla="*/ 7524422 h 8428587"/>
              <a:gd name="connsiteX0" fmla="*/ 5116 w 4945106"/>
              <a:gd name="connsiteY0" fmla="*/ 484632 h 1388797"/>
              <a:gd name="connsiteX1" fmla="*/ 4945106 w 4945106"/>
              <a:gd name="connsiteY1" fmla="*/ 0 h 1388797"/>
              <a:gd name="connsiteX2" fmla="*/ 4246134 w 4945106"/>
              <a:gd name="connsiteY2" fmla="*/ 1388797 h 1388797"/>
              <a:gd name="connsiteX3" fmla="*/ 0 w 4945106"/>
              <a:gd name="connsiteY3" fmla="*/ 1388797 h 1388797"/>
              <a:gd name="connsiteX4" fmla="*/ 5116 w 4945106"/>
              <a:gd name="connsiteY4" fmla="*/ 484632 h 1388797"/>
              <a:gd name="connsiteX0" fmla="*/ 5116 w 4731627"/>
              <a:gd name="connsiteY0" fmla="*/ 61233 h 965398"/>
              <a:gd name="connsiteX1" fmla="*/ 4731627 w 4731627"/>
              <a:gd name="connsiteY1" fmla="*/ 0 h 965398"/>
              <a:gd name="connsiteX2" fmla="*/ 4246134 w 4731627"/>
              <a:gd name="connsiteY2" fmla="*/ 965398 h 965398"/>
              <a:gd name="connsiteX3" fmla="*/ 0 w 4731627"/>
              <a:gd name="connsiteY3" fmla="*/ 965398 h 965398"/>
              <a:gd name="connsiteX4" fmla="*/ 5116 w 4731627"/>
              <a:gd name="connsiteY4" fmla="*/ 61233 h 965398"/>
              <a:gd name="connsiteX0" fmla="*/ 150993 w 4731627"/>
              <a:gd name="connsiteY0" fmla="*/ 747 h 965398"/>
              <a:gd name="connsiteX1" fmla="*/ 4731627 w 4731627"/>
              <a:gd name="connsiteY1" fmla="*/ 0 h 965398"/>
              <a:gd name="connsiteX2" fmla="*/ 4246134 w 4731627"/>
              <a:gd name="connsiteY2" fmla="*/ 965398 h 965398"/>
              <a:gd name="connsiteX3" fmla="*/ 0 w 4731627"/>
              <a:gd name="connsiteY3" fmla="*/ 965398 h 965398"/>
              <a:gd name="connsiteX4" fmla="*/ 150993 w 4731627"/>
              <a:gd name="connsiteY4" fmla="*/ 747 h 965398"/>
              <a:gd name="connsiteX0" fmla="*/ 217 w 4580851"/>
              <a:gd name="connsiteY0" fmla="*/ 747 h 965398"/>
              <a:gd name="connsiteX1" fmla="*/ 4580851 w 4580851"/>
              <a:gd name="connsiteY1" fmla="*/ 0 h 965398"/>
              <a:gd name="connsiteX2" fmla="*/ 4095358 w 4580851"/>
              <a:gd name="connsiteY2" fmla="*/ 965398 h 965398"/>
              <a:gd name="connsiteX3" fmla="*/ 5775 w 4580851"/>
              <a:gd name="connsiteY3" fmla="*/ 965398 h 965398"/>
              <a:gd name="connsiteX4" fmla="*/ 217 w 4580851"/>
              <a:gd name="connsiteY4" fmla="*/ 747 h 965398"/>
              <a:gd name="connsiteX0" fmla="*/ 217 w 4580851"/>
              <a:gd name="connsiteY0" fmla="*/ 0 h 968209"/>
              <a:gd name="connsiteX1" fmla="*/ 4580851 w 4580851"/>
              <a:gd name="connsiteY1" fmla="*/ 2811 h 968209"/>
              <a:gd name="connsiteX2" fmla="*/ 4095358 w 4580851"/>
              <a:gd name="connsiteY2" fmla="*/ 968209 h 968209"/>
              <a:gd name="connsiteX3" fmla="*/ 5775 w 4580851"/>
              <a:gd name="connsiteY3" fmla="*/ 968209 h 968209"/>
              <a:gd name="connsiteX4" fmla="*/ 217 w 4580851"/>
              <a:gd name="connsiteY4" fmla="*/ 0 h 968209"/>
              <a:gd name="connsiteX0" fmla="*/ 792 w 4575076"/>
              <a:gd name="connsiteY0" fmla="*/ 364 h 965398"/>
              <a:gd name="connsiteX1" fmla="*/ 4575076 w 4575076"/>
              <a:gd name="connsiteY1" fmla="*/ 0 h 965398"/>
              <a:gd name="connsiteX2" fmla="*/ 4089583 w 4575076"/>
              <a:gd name="connsiteY2" fmla="*/ 965398 h 965398"/>
              <a:gd name="connsiteX3" fmla="*/ 0 w 4575076"/>
              <a:gd name="connsiteY3" fmla="*/ 965398 h 965398"/>
              <a:gd name="connsiteX4" fmla="*/ 792 w 4575076"/>
              <a:gd name="connsiteY4" fmla="*/ 364 h 965398"/>
              <a:gd name="connsiteX0" fmla="*/ 317 w 4577776"/>
              <a:gd name="connsiteY0" fmla="*/ 364 h 965398"/>
              <a:gd name="connsiteX1" fmla="*/ 4577776 w 4577776"/>
              <a:gd name="connsiteY1" fmla="*/ 0 h 965398"/>
              <a:gd name="connsiteX2" fmla="*/ 4092283 w 4577776"/>
              <a:gd name="connsiteY2" fmla="*/ 965398 h 965398"/>
              <a:gd name="connsiteX3" fmla="*/ 2700 w 4577776"/>
              <a:gd name="connsiteY3" fmla="*/ 965398 h 965398"/>
              <a:gd name="connsiteX4" fmla="*/ 317 w 4577776"/>
              <a:gd name="connsiteY4" fmla="*/ 364 h 965398"/>
              <a:gd name="connsiteX0" fmla="*/ 792 w 4575076"/>
              <a:gd name="connsiteY0" fmla="*/ 3539 h 965398"/>
              <a:gd name="connsiteX1" fmla="*/ 4575076 w 4575076"/>
              <a:gd name="connsiteY1" fmla="*/ 0 h 965398"/>
              <a:gd name="connsiteX2" fmla="*/ 4089583 w 4575076"/>
              <a:gd name="connsiteY2" fmla="*/ 965398 h 965398"/>
              <a:gd name="connsiteX3" fmla="*/ 0 w 4575076"/>
              <a:gd name="connsiteY3" fmla="*/ 965398 h 965398"/>
              <a:gd name="connsiteX4" fmla="*/ 792 w 4575076"/>
              <a:gd name="connsiteY4" fmla="*/ 3539 h 965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75076" h="965398">
                <a:moveTo>
                  <a:pt x="792" y="3539"/>
                </a:moveTo>
                <a:lnTo>
                  <a:pt x="4575076" y="0"/>
                </a:lnTo>
                <a:lnTo>
                  <a:pt x="4089583" y="965398"/>
                </a:lnTo>
                <a:lnTo>
                  <a:pt x="0" y="965398"/>
                </a:lnTo>
                <a:cubicBezTo>
                  <a:pt x="1705" y="664010"/>
                  <a:pt x="-913" y="304927"/>
                  <a:pt x="792" y="3539"/>
                </a:cubicBezTo>
                <a:close/>
              </a:path>
            </a:pathLst>
          </a:custGeom>
          <a:solidFill>
            <a:srgbClr val="006AB6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D224A6-AE7F-A849-824E-C33BD98256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515" y="-1"/>
            <a:ext cx="10247270" cy="957059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CC25ED-55C9-F641-9E94-4A6F05D899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515" y="1074822"/>
            <a:ext cx="11432964" cy="537621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801CBA-0E7F-FD4F-A11F-D390D6EF29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-10827327" y="6254040"/>
            <a:ext cx="2743200" cy="365125"/>
          </a:xfrm>
        </p:spPr>
        <p:txBody>
          <a:bodyPr/>
          <a:lstStyle/>
          <a:p>
            <a:fld id="{978044AF-CED4-0041-B851-6374C8DF4BD0}" type="datetimeFigureOut">
              <a:rPr lang="en-FI" smtClean="0"/>
              <a:t>09/09/2022</a:t>
            </a:fld>
            <a:endParaRPr lang="en-FI"/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EBC6D35A-7A98-604B-AF80-A32FA29C5B1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30644" y="107806"/>
            <a:ext cx="1054100" cy="741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80459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Hexagon 12">
            <a:extLst>
              <a:ext uri="{FF2B5EF4-FFF2-40B4-BE49-F238E27FC236}">
                <a16:creationId xmlns:a16="http://schemas.microsoft.com/office/drawing/2014/main" id="{6026D33F-8AB7-0345-A581-75344E12C4E9}"/>
              </a:ext>
            </a:extLst>
          </p:cNvPr>
          <p:cNvSpPr/>
          <p:nvPr userDrawn="1"/>
        </p:nvSpPr>
        <p:spPr>
          <a:xfrm>
            <a:off x="-1350" y="-3364"/>
            <a:ext cx="4575076" cy="965398"/>
          </a:xfrm>
          <a:custGeom>
            <a:avLst/>
            <a:gdLst>
              <a:gd name="connsiteX0" fmla="*/ 0 w 9777166"/>
              <a:gd name="connsiteY0" fmla="*/ 4214296 h 8428591"/>
              <a:gd name="connsiteX1" fmla="*/ 2107148 w 9777166"/>
              <a:gd name="connsiteY1" fmla="*/ 2 h 8428591"/>
              <a:gd name="connsiteX2" fmla="*/ 7670018 w 9777166"/>
              <a:gd name="connsiteY2" fmla="*/ 2 h 8428591"/>
              <a:gd name="connsiteX3" fmla="*/ 9777166 w 9777166"/>
              <a:gd name="connsiteY3" fmla="*/ 4214296 h 8428591"/>
              <a:gd name="connsiteX4" fmla="*/ 7670018 w 9777166"/>
              <a:gd name="connsiteY4" fmla="*/ 8428589 h 8428591"/>
              <a:gd name="connsiteX5" fmla="*/ 2107148 w 9777166"/>
              <a:gd name="connsiteY5" fmla="*/ 8428589 h 8428591"/>
              <a:gd name="connsiteX6" fmla="*/ 0 w 9777166"/>
              <a:gd name="connsiteY6" fmla="*/ 4214296 h 8428591"/>
              <a:gd name="connsiteX0" fmla="*/ 0 w 8368990"/>
              <a:gd name="connsiteY0" fmla="*/ 4214294 h 8428587"/>
              <a:gd name="connsiteX1" fmla="*/ 2107148 w 8368990"/>
              <a:gd name="connsiteY1" fmla="*/ 0 h 8428587"/>
              <a:gd name="connsiteX2" fmla="*/ 7670018 w 8368990"/>
              <a:gd name="connsiteY2" fmla="*/ 0 h 8428587"/>
              <a:gd name="connsiteX3" fmla="*/ 8368990 w 8368990"/>
              <a:gd name="connsiteY3" fmla="*/ 7039790 h 8428587"/>
              <a:gd name="connsiteX4" fmla="*/ 7670018 w 8368990"/>
              <a:gd name="connsiteY4" fmla="*/ 8428587 h 8428587"/>
              <a:gd name="connsiteX5" fmla="*/ 2107148 w 8368990"/>
              <a:gd name="connsiteY5" fmla="*/ 8428587 h 8428587"/>
              <a:gd name="connsiteX6" fmla="*/ 0 w 8368990"/>
              <a:gd name="connsiteY6" fmla="*/ 4214294 h 8428587"/>
              <a:gd name="connsiteX0" fmla="*/ 1321852 w 6261842"/>
              <a:gd name="connsiteY0" fmla="*/ 7524422 h 8428587"/>
              <a:gd name="connsiteX1" fmla="*/ 0 w 6261842"/>
              <a:gd name="connsiteY1" fmla="*/ 0 h 8428587"/>
              <a:gd name="connsiteX2" fmla="*/ 5562870 w 6261842"/>
              <a:gd name="connsiteY2" fmla="*/ 0 h 8428587"/>
              <a:gd name="connsiteX3" fmla="*/ 6261842 w 6261842"/>
              <a:gd name="connsiteY3" fmla="*/ 7039790 h 8428587"/>
              <a:gd name="connsiteX4" fmla="*/ 5562870 w 6261842"/>
              <a:gd name="connsiteY4" fmla="*/ 8428587 h 8428587"/>
              <a:gd name="connsiteX5" fmla="*/ 0 w 6261842"/>
              <a:gd name="connsiteY5" fmla="*/ 8428587 h 8428587"/>
              <a:gd name="connsiteX6" fmla="*/ 1321852 w 6261842"/>
              <a:gd name="connsiteY6" fmla="*/ 7524422 h 8428587"/>
              <a:gd name="connsiteX0" fmla="*/ 1321852 w 6261842"/>
              <a:gd name="connsiteY0" fmla="*/ 7524422 h 8428587"/>
              <a:gd name="connsiteX1" fmla="*/ 0 w 6261842"/>
              <a:gd name="connsiteY1" fmla="*/ 0 h 8428587"/>
              <a:gd name="connsiteX2" fmla="*/ 5562870 w 6261842"/>
              <a:gd name="connsiteY2" fmla="*/ 0 h 8428587"/>
              <a:gd name="connsiteX3" fmla="*/ 6261842 w 6261842"/>
              <a:gd name="connsiteY3" fmla="*/ 7039790 h 8428587"/>
              <a:gd name="connsiteX4" fmla="*/ 5562870 w 6261842"/>
              <a:gd name="connsiteY4" fmla="*/ 8428587 h 8428587"/>
              <a:gd name="connsiteX5" fmla="*/ 1316736 w 6261842"/>
              <a:gd name="connsiteY5" fmla="*/ 8428587 h 8428587"/>
              <a:gd name="connsiteX6" fmla="*/ 1321852 w 6261842"/>
              <a:gd name="connsiteY6" fmla="*/ 7524422 h 8428587"/>
              <a:gd name="connsiteX0" fmla="*/ 5116 w 4945106"/>
              <a:gd name="connsiteY0" fmla="*/ 7524422 h 8428587"/>
              <a:gd name="connsiteX1" fmla="*/ 4246134 w 4945106"/>
              <a:gd name="connsiteY1" fmla="*/ 0 h 8428587"/>
              <a:gd name="connsiteX2" fmla="*/ 4945106 w 4945106"/>
              <a:gd name="connsiteY2" fmla="*/ 7039790 h 8428587"/>
              <a:gd name="connsiteX3" fmla="*/ 4246134 w 4945106"/>
              <a:gd name="connsiteY3" fmla="*/ 8428587 h 8428587"/>
              <a:gd name="connsiteX4" fmla="*/ 0 w 4945106"/>
              <a:gd name="connsiteY4" fmla="*/ 8428587 h 8428587"/>
              <a:gd name="connsiteX5" fmla="*/ 5116 w 4945106"/>
              <a:gd name="connsiteY5" fmla="*/ 7524422 h 8428587"/>
              <a:gd name="connsiteX0" fmla="*/ 5116 w 4945106"/>
              <a:gd name="connsiteY0" fmla="*/ 484632 h 1388797"/>
              <a:gd name="connsiteX1" fmla="*/ 4945106 w 4945106"/>
              <a:gd name="connsiteY1" fmla="*/ 0 h 1388797"/>
              <a:gd name="connsiteX2" fmla="*/ 4246134 w 4945106"/>
              <a:gd name="connsiteY2" fmla="*/ 1388797 h 1388797"/>
              <a:gd name="connsiteX3" fmla="*/ 0 w 4945106"/>
              <a:gd name="connsiteY3" fmla="*/ 1388797 h 1388797"/>
              <a:gd name="connsiteX4" fmla="*/ 5116 w 4945106"/>
              <a:gd name="connsiteY4" fmla="*/ 484632 h 1388797"/>
              <a:gd name="connsiteX0" fmla="*/ 5116 w 4731627"/>
              <a:gd name="connsiteY0" fmla="*/ 61233 h 965398"/>
              <a:gd name="connsiteX1" fmla="*/ 4731627 w 4731627"/>
              <a:gd name="connsiteY1" fmla="*/ 0 h 965398"/>
              <a:gd name="connsiteX2" fmla="*/ 4246134 w 4731627"/>
              <a:gd name="connsiteY2" fmla="*/ 965398 h 965398"/>
              <a:gd name="connsiteX3" fmla="*/ 0 w 4731627"/>
              <a:gd name="connsiteY3" fmla="*/ 965398 h 965398"/>
              <a:gd name="connsiteX4" fmla="*/ 5116 w 4731627"/>
              <a:gd name="connsiteY4" fmla="*/ 61233 h 965398"/>
              <a:gd name="connsiteX0" fmla="*/ 150993 w 4731627"/>
              <a:gd name="connsiteY0" fmla="*/ 747 h 965398"/>
              <a:gd name="connsiteX1" fmla="*/ 4731627 w 4731627"/>
              <a:gd name="connsiteY1" fmla="*/ 0 h 965398"/>
              <a:gd name="connsiteX2" fmla="*/ 4246134 w 4731627"/>
              <a:gd name="connsiteY2" fmla="*/ 965398 h 965398"/>
              <a:gd name="connsiteX3" fmla="*/ 0 w 4731627"/>
              <a:gd name="connsiteY3" fmla="*/ 965398 h 965398"/>
              <a:gd name="connsiteX4" fmla="*/ 150993 w 4731627"/>
              <a:gd name="connsiteY4" fmla="*/ 747 h 965398"/>
              <a:gd name="connsiteX0" fmla="*/ 217 w 4580851"/>
              <a:gd name="connsiteY0" fmla="*/ 747 h 965398"/>
              <a:gd name="connsiteX1" fmla="*/ 4580851 w 4580851"/>
              <a:gd name="connsiteY1" fmla="*/ 0 h 965398"/>
              <a:gd name="connsiteX2" fmla="*/ 4095358 w 4580851"/>
              <a:gd name="connsiteY2" fmla="*/ 965398 h 965398"/>
              <a:gd name="connsiteX3" fmla="*/ 5775 w 4580851"/>
              <a:gd name="connsiteY3" fmla="*/ 965398 h 965398"/>
              <a:gd name="connsiteX4" fmla="*/ 217 w 4580851"/>
              <a:gd name="connsiteY4" fmla="*/ 747 h 965398"/>
              <a:gd name="connsiteX0" fmla="*/ 217 w 4580851"/>
              <a:gd name="connsiteY0" fmla="*/ 0 h 968209"/>
              <a:gd name="connsiteX1" fmla="*/ 4580851 w 4580851"/>
              <a:gd name="connsiteY1" fmla="*/ 2811 h 968209"/>
              <a:gd name="connsiteX2" fmla="*/ 4095358 w 4580851"/>
              <a:gd name="connsiteY2" fmla="*/ 968209 h 968209"/>
              <a:gd name="connsiteX3" fmla="*/ 5775 w 4580851"/>
              <a:gd name="connsiteY3" fmla="*/ 968209 h 968209"/>
              <a:gd name="connsiteX4" fmla="*/ 217 w 4580851"/>
              <a:gd name="connsiteY4" fmla="*/ 0 h 968209"/>
              <a:gd name="connsiteX0" fmla="*/ 792 w 4575076"/>
              <a:gd name="connsiteY0" fmla="*/ 364 h 965398"/>
              <a:gd name="connsiteX1" fmla="*/ 4575076 w 4575076"/>
              <a:gd name="connsiteY1" fmla="*/ 0 h 965398"/>
              <a:gd name="connsiteX2" fmla="*/ 4089583 w 4575076"/>
              <a:gd name="connsiteY2" fmla="*/ 965398 h 965398"/>
              <a:gd name="connsiteX3" fmla="*/ 0 w 4575076"/>
              <a:gd name="connsiteY3" fmla="*/ 965398 h 965398"/>
              <a:gd name="connsiteX4" fmla="*/ 792 w 4575076"/>
              <a:gd name="connsiteY4" fmla="*/ 364 h 965398"/>
              <a:gd name="connsiteX0" fmla="*/ 317 w 4577776"/>
              <a:gd name="connsiteY0" fmla="*/ 364 h 965398"/>
              <a:gd name="connsiteX1" fmla="*/ 4577776 w 4577776"/>
              <a:gd name="connsiteY1" fmla="*/ 0 h 965398"/>
              <a:gd name="connsiteX2" fmla="*/ 4092283 w 4577776"/>
              <a:gd name="connsiteY2" fmla="*/ 965398 h 965398"/>
              <a:gd name="connsiteX3" fmla="*/ 2700 w 4577776"/>
              <a:gd name="connsiteY3" fmla="*/ 965398 h 965398"/>
              <a:gd name="connsiteX4" fmla="*/ 317 w 4577776"/>
              <a:gd name="connsiteY4" fmla="*/ 364 h 965398"/>
              <a:gd name="connsiteX0" fmla="*/ 792 w 4575076"/>
              <a:gd name="connsiteY0" fmla="*/ 3539 h 965398"/>
              <a:gd name="connsiteX1" fmla="*/ 4575076 w 4575076"/>
              <a:gd name="connsiteY1" fmla="*/ 0 h 965398"/>
              <a:gd name="connsiteX2" fmla="*/ 4089583 w 4575076"/>
              <a:gd name="connsiteY2" fmla="*/ 965398 h 965398"/>
              <a:gd name="connsiteX3" fmla="*/ 0 w 4575076"/>
              <a:gd name="connsiteY3" fmla="*/ 965398 h 965398"/>
              <a:gd name="connsiteX4" fmla="*/ 792 w 4575076"/>
              <a:gd name="connsiteY4" fmla="*/ 3539 h 965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75076" h="965398">
                <a:moveTo>
                  <a:pt x="792" y="3539"/>
                </a:moveTo>
                <a:lnTo>
                  <a:pt x="4575076" y="0"/>
                </a:lnTo>
                <a:lnTo>
                  <a:pt x="4089583" y="965398"/>
                </a:lnTo>
                <a:lnTo>
                  <a:pt x="0" y="965398"/>
                </a:lnTo>
                <a:cubicBezTo>
                  <a:pt x="1705" y="664010"/>
                  <a:pt x="-913" y="304927"/>
                  <a:pt x="792" y="3539"/>
                </a:cubicBezTo>
                <a:close/>
              </a:path>
            </a:pathLst>
          </a:custGeom>
          <a:solidFill>
            <a:srgbClr val="006AB6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717924-3210-724E-B87A-5331F1DB52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512" y="-1849"/>
            <a:ext cx="10247273" cy="957058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B0E36-3071-A44F-BACC-D883AC3D6C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9515" y="5111609"/>
            <a:ext cx="3547398" cy="1339411"/>
          </a:xfrm>
        </p:spPr>
        <p:txBody>
          <a:bodyPr anchor="t">
            <a:no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2420060-5FA7-CF4C-BBC8-52498251F8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8023" y="1354154"/>
            <a:ext cx="3547398" cy="347607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F6B1AF5-2863-0747-BC72-FDD194AB0E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332814" y="5111609"/>
            <a:ext cx="3547398" cy="1339411"/>
          </a:xfrm>
        </p:spPr>
        <p:txBody>
          <a:bodyPr anchor="t">
            <a:no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5C265FF-1149-BB42-B22D-08F8DCD285E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332814" y="1354154"/>
            <a:ext cx="3547398" cy="347607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B8FB91F-9A75-7040-9914-398E04E76BA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-11938631" y="6254040"/>
            <a:ext cx="2743200" cy="365125"/>
          </a:xfrm>
        </p:spPr>
        <p:txBody>
          <a:bodyPr/>
          <a:lstStyle/>
          <a:p>
            <a:fld id="{978044AF-CED4-0041-B851-6374C8DF4BD0}" type="datetimeFigureOut">
              <a:rPr lang="en-FI" smtClean="0"/>
              <a:t>09/09/2022</a:t>
            </a:fld>
            <a:endParaRPr lang="en-FI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610B09C2-05AD-414D-8E2F-C136291D20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97604" y="5111610"/>
            <a:ext cx="3547397" cy="1349892"/>
          </a:xfrm>
        </p:spPr>
        <p:txBody>
          <a:bodyPr anchor="t">
            <a:no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Content Placeholder 5">
            <a:extLst>
              <a:ext uri="{FF2B5EF4-FFF2-40B4-BE49-F238E27FC236}">
                <a16:creationId xmlns:a16="http://schemas.microsoft.com/office/drawing/2014/main" id="{78A10156-6CEC-984D-A243-D330AEE19F5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297605" y="1363454"/>
            <a:ext cx="3514872" cy="347607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pic>
        <p:nvPicPr>
          <p:cNvPr id="20" name="Picture 19" descr="Icon&#10;&#10;Description automatically generated">
            <a:extLst>
              <a:ext uri="{FF2B5EF4-FFF2-40B4-BE49-F238E27FC236}">
                <a16:creationId xmlns:a16="http://schemas.microsoft.com/office/drawing/2014/main" id="{88A5A17A-84EF-AF45-8EC7-13B34A0A73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30644" y="107806"/>
            <a:ext cx="1054100" cy="741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38982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gradient">
    <p:bg>
      <p:bgPr>
        <a:gradFill>
          <a:gsLst>
            <a:gs pos="0">
              <a:schemeClr val="accent1"/>
            </a:gs>
            <a:gs pos="100000">
              <a:srgbClr val="006AB6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Hexagon 12">
            <a:extLst>
              <a:ext uri="{FF2B5EF4-FFF2-40B4-BE49-F238E27FC236}">
                <a16:creationId xmlns:a16="http://schemas.microsoft.com/office/drawing/2014/main" id="{FF83F3E5-2370-1D47-808E-3B91EC84EE64}"/>
              </a:ext>
            </a:extLst>
          </p:cNvPr>
          <p:cNvSpPr/>
          <p:nvPr userDrawn="1"/>
        </p:nvSpPr>
        <p:spPr>
          <a:xfrm>
            <a:off x="-1350" y="-3364"/>
            <a:ext cx="4575076" cy="965398"/>
          </a:xfrm>
          <a:custGeom>
            <a:avLst/>
            <a:gdLst>
              <a:gd name="connsiteX0" fmla="*/ 0 w 9777166"/>
              <a:gd name="connsiteY0" fmla="*/ 4214296 h 8428591"/>
              <a:gd name="connsiteX1" fmla="*/ 2107148 w 9777166"/>
              <a:gd name="connsiteY1" fmla="*/ 2 h 8428591"/>
              <a:gd name="connsiteX2" fmla="*/ 7670018 w 9777166"/>
              <a:gd name="connsiteY2" fmla="*/ 2 h 8428591"/>
              <a:gd name="connsiteX3" fmla="*/ 9777166 w 9777166"/>
              <a:gd name="connsiteY3" fmla="*/ 4214296 h 8428591"/>
              <a:gd name="connsiteX4" fmla="*/ 7670018 w 9777166"/>
              <a:gd name="connsiteY4" fmla="*/ 8428589 h 8428591"/>
              <a:gd name="connsiteX5" fmla="*/ 2107148 w 9777166"/>
              <a:gd name="connsiteY5" fmla="*/ 8428589 h 8428591"/>
              <a:gd name="connsiteX6" fmla="*/ 0 w 9777166"/>
              <a:gd name="connsiteY6" fmla="*/ 4214296 h 8428591"/>
              <a:gd name="connsiteX0" fmla="*/ 0 w 8368990"/>
              <a:gd name="connsiteY0" fmla="*/ 4214294 h 8428587"/>
              <a:gd name="connsiteX1" fmla="*/ 2107148 w 8368990"/>
              <a:gd name="connsiteY1" fmla="*/ 0 h 8428587"/>
              <a:gd name="connsiteX2" fmla="*/ 7670018 w 8368990"/>
              <a:gd name="connsiteY2" fmla="*/ 0 h 8428587"/>
              <a:gd name="connsiteX3" fmla="*/ 8368990 w 8368990"/>
              <a:gd name="connsiteY3" fmla="*/ 7039790 h 8428587"/>
              <a:gd name="connsiteX4" fmla="*/ 7670018 w 8368990"/>
              <a:gd name="connsiteY4" fmla="*/ 8428587 h 8428587"/>
              <a:gd name="connsiteX5" fmla="*/ 2107148 w 8368990"/>
              <a:gd name="connsiteY5" fmla="*/ 8428587 h 8428587"/>
              <a:gd name="connsiteX6" fmla="*/ 0 w 8368990"/>
              <a:gd name="connsiteY6" fmla="*/ 4214294 h 8428587"/>
              <a:gd name="connsiteX0" fmla="*/ 1321852 w 6261842"/>
              <a:gd name="connsiteY0" fmla="*/ 7524422 h 8428587"/>
              <a:gd name="connsiteX1" fmla="*/ 0 w 6261842"/>
              <a:gd name="connsiteY1" fmla="*/ 0 h 8428587"/>
              <a:gd name="connsiteX2" fmla="*/ 5562870 w 6261842"/>
              <a:gd name="connsiteY2" fmla="*/ 0 h 8428587"/>
              <a:gd name="connsiteX3" fmla="*/ 6261842 w 6261842"/>
              <a:gd name="connsiteY3" fmla="*/ 7039790 h 8428587"/>
              <a:gd name="connsiteX4" fmla="*/ 5562870 w 6261842"/>
              <a:gd name="connsiteY4" fmla="*/ 8428587 h 8428587"/>
              <a:gd name="connsiteX5" fmla="*/ 0 w 6261842"/>
              <a:gd name="connsiteY5" fmla="*/ 8428587 h 8428587"/>
              <a:gd name="connsiteX6" fmla="*/ 1321852 w 6261842"/>
              <a:gd name="connsiteY6" fmla="*/ 7524422 h 8428587"/>
              <a:gd name="connsiteX0" fmla="*/ 1321852 w 6261842"/>
              <a:gd name="connsiteY0" fmla="*/ 7524422 h 8428587"/>
              <a:gd name="connsiteX1" fmla="*/ 0 w 6261842"/>
              <a:gd name="connsiteY1" fmla="*/ 0 h 8428587"/>
              <a:gd name="connsiteX2" fmla="*/ 5562870 w 6261842"/>
              <a:gd name="connsiteY2" fmla="*/ 0 h 8428587"/>
              <a:gd name="connsiteX3" fmla="*/ 6261842 w 6261842"/>
              <a:gd name="connsiteY3" fmla="*/ 7039790 h 8428587"/>
              <a:gd name="connsiteX4" fmla="*/ 5562870 w 6261842"/>
              <a:gd name="connsiteY4" fmla="*/ 8428587 h 8428587"/>
              <a:gd name="connsiteX5" fmla="*/ 1316736 w 6261842"/>
              <a:gd name="connsiteY5" fmla="*/ 8428587 h 8428587"/>
              <a:gd name="connsiteX6" fmla="*/ 1321852 w 6261842"/>
              <a:gd name="connsiteY6" fmla="*/ 7524422 h 8428587"/>
              <a:gd name="connsiteX0" fmla="*/ 5116 w 4945106"/>
              <a:gd name="connsiteY0" fmla="*/ 7524422 h 8428587"/>
              <a:gd name="connsiteX1" fmla="*/ 4246134 w 4945106"/>
              <a:gd name="connsiteY1" fmla="*/ 0 h 8428587"/>
              <a:gd name="connsiteX2" fmla="*/ 4945106 w 4945106"/>
              <a:gd name="connsiteY2" fmla="*/ 7039790 h 8428587"/>
              <a:gd name="connsiteX3" fmla="*/ 4246134 w 4945106"/>
              <a:gd name="connsiteY3" fmla="*/ 8428587 h 8428587"/>
              <a:gd name="connsiteX4" fmla="*/ 0 w 4945106"/>
              <a:gd name="connsiteY4" fmla="*/ 8428587 h 8428587"/>
              <a:gd name="connsiteX5" fmla="*/ 5116 w 4945106"/>
              <a:gd name="connsiteY5" fmla="*/ 7524422 h 8428587"/>
              <a:gd name="connsiteX0" fmla="*/ 5116 w 4945106"/>
              <a:gd name="connsiteY0" fmla="*/ 484632 h 1388797"/>
              <a:gd name="connsiteX1" fmla="*/ 4945106 w 4945106"/>
              <a:gd name="connsiteY1" fmla="*/ 0 h 1388797"/>
              <a:gd name="connsiteX2" fmla="*/ 4246134 w 4945106"/>
              <a:gd name="connsiteY2" fmla="*/ 1388797 h 1388797"/>
              <a:gd name="connsiteX3" fmla="*/ 0 w 4945106"/>
              <a:gd name="connsiteY3" fmla="*/ 1388797 h 1388797"/>
              <a:gd name="connsiteX4" fmla="*/ 5116 w 4945106"/>
              <a:gd name="connsiteY4" fmla="*/ 484632 h 1388797"/>
              <a:gd name="connsiteX0" fmla="*/ 5116 w 4731627"/>
              <a:gd name="connsiteY0" fmla="*/ 61233 h 965398"/>
              <a:gd name="connsiteX1" fmla="*/ 4731627 w 4731627"/>
              <a:gd name="connsiteY1" fmla="*/ 0 h 965398"/>
              <a:gd name="connsiteX2" fmla="*/ 4246134 w 4731627"/>
              <a:gd name="connsiteY2" fmla="*/ 965398 h 965398"/>
              <a:gd name="connsiteX3" fmla="*/ 0 w 4731627"/>
              <a:gd name="connsiteY3" fmla="*/ 965398 h 965398"/>
              <a:gd name="connsiteX4" fmla="*/ 5116 w 4731627"/>
              <a:gd name="connsiteY4" fmla="*/ 61233 h 965398"/>
              <a:gd name="connsiteX0" fmla="*/ 150993 w 4731627"/>
              <a:gd name="connsiteY0" fmla="*/ 747 h 965398"/>
              <a:gd name="connsiteX1" fmla="*/ 4731627 w 4731627"/>
              <a:gd name="connsiteY1" fmla="*/ 0 h 965398"/>
              <a:gd name="connsiteX2" fmla="*/ 4246134 w 4731627"/>
              <a:gd name="connsiteY2" fmla="*/ 965398 h 965398"/>
              <a:gd name="connsiteX3" fmla="*/ 0 w 4731627"/>
              <a:gd name="connsiteY3" fmla="*/ 965398 h 965398"/>
              <a:gd name="connsiteX4" fmla="*/ 150993 w 4731627"/>
              <a:gd name="connsiteY4" fmla="*/ 747 h 965398"/>
              <a:gd name="connsiteX0" fmla="*/ 217 w 4580851"/>
              <a:gd name="connsiteY0" fmla="*/ 747 h 965398"/>
              <a:gd name="connsiteX1" fmla="*/ 4580851 w 4580851"/>
              <a:gd name="connsiteY1" fmla="*/ 0 h 965398"/>
              <a:gd name="connsiteX2" fmla="*/ 4095358 w 4580851"/>
              <a:gd name="connsiteY2" fmla="*/ 965398 h 965398"/>
              <a:gd name="connsiteX3" fmla="*/ 5775 w 4580851"/>
              <a:gd name="connsiteY3" fmla="*/ 965398 h 965398"/>
              <a:gd name="connsiteX4" fmla="*/ 217 w 4580851"/>
              <a:gd name="connsiteY4" fmla="*/ 747 h 965398"/>
              <a:gd name="connsiteX0" fmla="*/ 217 w 4580851"/>
              <a:gd name="connsiteY0" fmla="*/ 0 h 968209"/>
              <a:gd name="connsiteX1" fmla="*/ 4580851 w 4580851"/>
              <a:gd name="connsiteY1" fmla="*/ 2811 h 968209"/>
              <a:gd name="connsiteX2" fmla="*/ 4095358 w 4580851"/>
              <a:gd name="connsiteY2" fmla="*/ 968209 h 968209"/>
              <a:gd name="connsiteX3" fmla="*/ 5775 w 4580851"/>
              <a:gd name="connsiteY3" fmla="*/ 968209 h 968209"/>
              <a:gd name="connsiteX4" fmla="*/ 217 w 4580851"/>
              <a:gd name="connsiteY4" fmla="*/ 0 h 968209"/>
              <a:gd name="connsiteX0" fmla="*/ 792 w 4575076"/>
              <a:gd name="connsiteY0" fmla="*/ 364 h 965398"/>
              <a:gd name="connsiteX1" fmla="*/ 4575076 w 4575076"/>
              <a:gd name="connsiteY1" fmla="*/ 0 h 965398"/>
              <a:gd name="connsiteX2" fmla="*/ 4089583 w 4575076"/>
              <a:gd name="connsiteY2" fmla="*/ 965398 h 965398"/>
              <a:gd name="connsiteX3" fmla="*/ 0 w 4575076"/>
              <a:gd name="connsiteY3" fmla="*/ 965398 h 965398"/>
              <a:gd name="connsiteX4" fmla="*/ 792 w 4575076"/>
              <a:gd name="connsiteY4" fmla="*/ 364 h 965398"/>
              <a:gd name="connsiteX0" fmla="*/ 317 w 4577776"/>
              <a:gd name="connsiteY0" fmla="*/ 364 h 965398"/>
              <a:gd name="connsiteX1" fmla="*/ 4577776 w 4577776"/>
              <a:gd name="connsiteY1" fmla="*/ 0 h 965398"/>
              <a:gd name="connsiteX2" fmla="*/ 4092283 w 4577776"/>
              <a:gd name="connsiteY2" fmla="*/ 965398 h 965398"/>
              <a:gd name="connsiteX3" fmla="*/ 2700 w 4577776"/>
              <a:gd name="connsiteY3" fmla="*/ 965398 h 965398"/>
              <a:gd name="connsiteX4" fmla="*/ 317 w 4577776"/>
              <a:gd name="connsiteY4" fmla="*/ 364 h 965398"/>
              <a:gd name="connsiteX0" fmla="*/ 792 w 4575076"/>
              <a:gd name="connsiteY0" fmla="*/ 3539 h 965398"/>
              <a:gd name="connsiteX1" fmla="*/ 4575076 w 4575076"/>
              <a:gd name="connsiteY1" fmla="*/ 0 h 965398"/>
              <a:gd name="connsiteX2" fmla="*/ 4089583 w 4575076"/>
              <a:gd name="connsiteY2" fmla="*/ 965398 h 965398"/>
              <a:gd name="connsiteX3" fmla="*/ 0 w 4575076"/>
              <a:gd name="connsiteY3" fmla="*/ 965398 h 965398"/>
              <a:gd name="connsiteX4" fmla="*/ 792 w 4575076"/>
              <a:gd name="connsiteY4" fmla="*/ 3539 h 965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75076" h="965398">
                <a:moveTo>
                  <a:pt x="792" y="3539"/>
                </a:moveTo>
                <a:lnTo>
                  <a:pt x="4575076" y="0"/>
                </a:lnTo>
                <a:lnTo>
                  <a:pt x="4089583" y="965398"/>
                </a:lnTo>
                <a:lnTo>
                  <a:pt x="0" y="965398"/>
                </a:lnTo>
                <a:cubicBezTo>
                  <a:pt x="1705" y="664010"/>
                  <a:pt x="-913" y="304927"/>
                  <a:pt x="792" y="3539"/>
                </a:cubicBezTo>
                <a:close/>
              </a:path>
            </a:pathLst>
          </a:custGeom>
          <a:solidFill>
            <a:srgbClr val="006AB6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717924-3210-724E-B87A-5331F1DB52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512" y="-1849"/>
            <a:ext cx="10247273" cy="957058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B0E36-3071-A44F-BACC-D883AC3D6C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9515" y="5111609"/>
            <a:ext cx="3547398" cy="1339411"/>
          </a:xfrm>
        </p:spPr>
        <p:txBody>
          <a:bodyPr anchor="t">
            <a:no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2420060-5FA7-CF4C-BBC8-52498251F8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8023" y="1354154"/>
            <a:ext cx="3547398" cy="347607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F6B1AF5-2863-0747-BC72-FDD194AB0E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332814" y="5111609"/>
            <a:ext cx="3547398" cy="1339411"/>
          </a:xfrm>
        </p:spPr>
        <p:txBody>
          <a:bodyPr anchor="t">
            <a:no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5C265FF-1149-BB42-B22D-08F8DCD285E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332814" y="1354154"/>
            <a:ext cx="3547398" cy="347607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B8FB91F-9A75-7040-9914-398E04E76BA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-11938631" y="6254040"/>
            <a:ext cx="2743200" cy="365125"/>
          </a:xfrm>
        </p:spPr>
        <p:txBody>
          <a:bodyPr/>
          <a:lstStyle/>
          <a:p>
            <a:fld id="{978044AF-CED4-0041-B851-6374C8DF4BD0}" type="datetimeFigureOut">
              <a:rPr lang="en-FI" smtClean="0"/>
              <a:t>09/09/2022</a:t>
            </a:fld>
            <a:endParaRPr lang="en-FI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610B09C2-05AD-414D-8E2F-C136291D20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97604" y="5111610"/>
            <a:ext cx="3547397" cy="1349892"/>
          </a:xfrm>
        </p:spPr>
        <p:txBody>
          <a:bodyPr anchor="t">
            <a:no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Content Placeholder 5">
            <a:extLst>
              <a:ext uri="{FF2B5EF4-FFF2-40B4-BE49-F238E27FC236}">
                <a16:creationId xmlns:a16="http://schemas.microsoft.com/office/drawing/2014/main" id="{78A10156-6CEC-984D-A243-D330AEE19F5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297605" y="1363454"/>
            <a:ext cx="3514872" cy="347607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pic>
        <p:nvPicPr>
          <p:cNvPr id="20" name="Picture 19" descr="Icon&#10;&#10;Description automatically generated">
            <a:extLst>
              <a:ext uri="{FF2B5EF4-FFF2-40B4-BE49-F238E27FC236}">
                <a16:creationId xmlns:a16="http://schemas.microsoft.com/office/drawing/2014/main" id="{88A5A17A-84EF-AF45-8EC7-13B34A0A73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30644" y="107806"/>
            <a:ext cx="1054100" cy="741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32867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large objec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8851869-4999-0444-BA3E-18F6C17D4ACA}"/>
              </a:ext>
            </a:extLst>
          </p:cNvPr>
          <p:cNvSpPr/>
          <p:nvPr userDrawn="1"/>
        </p:nvSpPr>
        <p:spPr>
          <a:xfrm>
            <a:off x="1807535" y="406971"/>
            <a:ext cx="10003114" cy="604403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CF3744D-0FF1-044C-ADA8-A1D5970779D2}"/>
              </a:ext>
            </a:extLst>
          </p:cNvPr>
          <p:cNvSpPr/>
          <p:nvPr userDrawn="1"/>
        </p:nvSpPr>
        <p:spPr>
          <a:xfrm>
            <a:off x="374257" y="750359"/>
            <a:ext cx="7751377" cy="530210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2540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D85EA8-CDDA-F144-9CCD-1F28C5D39C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12251" y="406946"/>
            <a:ext cx="3298398" cy="1209203"/>
          </a:xfrm>
        </p:spPr>
        <p:txBody>
          <a:bodyPr anchor="b"/>
          <a:lstStyle>
            <a:lvl1pPr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51BE49-7FC1-7F45-96A8-30D50BEBD39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514081" y="1765006"/>
            <a:ext cx="3298398" cy="4686024"/>
          </a:xfrm>
        </p:spPr>
        <p:txBody>
          <a:bodyPr>
            <a:normAutofit/>
          </a:bodyPr>
          <a:lstStyle>
            <a:lvl1pPr marL="342900" indent="-342900">
              <a:buFont typeface="Wingdings" pitchFamily="2" charset="2"/>
              <a:buChar char="§"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E55AEE7-671A-2C43-B410-4A97E530928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-11076709" y="6254040"/>
            <a:ext cx="2743200" cy="365125"/>
          </a:xfrm>
        </p:spPr>
        <p:txBody>
          <a:bodyPr/>
          <a:lstStyle/>
          <a:p>
            <a:fld id="{978044AF-CED4-0041-B851-6374C8DF4BD0}" type="datetimeFigureOut">
              <a:rPr lang="en-FI" smtClean="0"/>
              <a:t>09/09/2022</a:t>
            </a:fld>
            <a:endParaRPr lang="en-FI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C0FD9B-7C2B-DA4E-BB16-11449988A4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258" y="750359"/>
            <a:ext cx="7751378" cy="5302101"/>
          </a:xfrm>
          <a:solidFill>
            <a:schemeClr val="bg1"/>
          </a:solidFill>
          <a:effectLst/>
        </p:spPr>
        <p:txBody>
          <a:bodyPr/>
          <a:lstStyle>
            <a:lvl1pPr marL="0" indent="0">
              <a:buNone/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endParaRPr lang="en-FI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865686B-D548-F04B-9F95-4BB9882EC715}"/>
              </a:ext>
            </a:extLst>
          </p:cNvPr>
          <p:cNvSpPr txBox="1"/>
          <p:nvPr userDrawn="1"/>
        </p:nvSpPr>
        <p:spPr>
          <a:xfrm>
            <a:off x="42530" y="17012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103302717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large object -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8851869-4999-0444-BA3E-18F6C17D4ACA}"/>
              </a:ext>
            </a:extLst>
          </p:cNvPr>
          <p:cNvSpPr/>
          <p:nvPr userDrawn="1"/>
        </p:nvSpPr>
        <p:spPr>
          <a:xfrm>
            <a:off x="1807535" y="406971"/>
            <a:ext cx="10003114" cy="604403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4CC8DFF-44B8-394F-8477-6220822B2FD4}"/>
              </a:ext>
            </a:extLst>
          </p:cNvPr>
          <p:cNvSpPr/>
          <p:nvPr userDrawn="1"/>
        </p:nvSpPr>
        <p:spPr>
          <a:xfrm>
            <a:off x="374257" y="750359"/>
            <a:ext cx="7751377" cy="5302100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2540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D85EA8-CDDA-F144-9CCD-1F28C5D39C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12251" y="406946"/>
            <a:ext cx="3298398" cy="1209203"/>
          </a:xfrm>
        </p:spPr>
        <p:txBody>
          <a:bodyPr anchor="b"/>
          <a:lstStyle>
            <a:lvl1pPr>
              <a:defRPr sz="3000" b="1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51BE49-7FC1-7F45-96A8-30D50BEBD39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514081" y="1765006"/>
            <a:ext cx="3298398" cy="4686024"/>
          </a:xfrm>
        </p:spPr>
        <p:txBody>
          <a:bodyPr>
            <a:normAutofit/>
          </a:bodyPr>
          <a:lstStyle>
            <a:lvl1pPr marL="342900" indent="-342900"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E55AEE7-671A-2C43-B410-4A97E530928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-11076709" y="6254040"/>
            <a:ext cx="2743200" cy="365125"/>
          </a:xfrm>
        </p:spPr>
        <p:txBody>
          <a:bodyPr/>
          <a:lstStyle/>
          <a:p>
            <a:fld id="{978044AF-CED4-0041-B851-6374C8DF4BD0}" type="datetimeFigureOut">
              <a:rPr lang="en-FI" smtClean="0"/>
              <a:t>09/09/2022</a:t>
            </a:fld>
            <a:endParaRPr lang="en-FI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C0FD9B-7C2B-DA4E-BB16-11449988A4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258" y="750359"/>
            <a:ext cx="7751378" cy="5302101"/>
          </a:xfrm>
          <a:solidFill>
            <a:schemeClr val="tx1"/>
          </a:solidFill>
          <a:effectLst/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endParaRPr lang="en-FI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865686B-D548-F04B-9F95-4BB9882EC715}"/>
              </a:ext>
            </a:extLst>
          </p:cNvPr>
          <p:cNvSpPr txBox="1"/>
          <p:nvPr userDrawn="1"/>
        </p:nvSpPr>
        <p:spPr>
          <a:xfrm>
            <a:off x="42530" y="17012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38840060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large object -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8851869-4999-0444-BA3E-18F6C17D4ACA}"/>
              </a:ext>
            </a:extLst>
          </p:cNvPr>
          <p:cNvSpPr/>
          <p:nvPr userDrawn="1"/>
        </p:nvSpPr>
        <p:spPr>
          <a:xfrm rot="10800000">
            <a:off x="1807535" y="406971"/>
            <a:ext cx="10003114" cy="6044033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81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110D9FA-D96A-0147-A374-D223D519CA3D}"/>
              </a:ext>
            </a:extLst>
          </p:cNvPr>
          <p:cNvSpPr/>
          <p:nvPr userDrawn="1"/>
        </p:nvSpPr>
        <p:spPr>
          <a:xfrm>
            <a:off x="374257" y="750359"/>
            <a:ext cx="7751377" cy="530210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2540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D85EA8-CDDA-F144-9CCD-1F28C5D39C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12251" y="406946"/>
            <a:ext cx="3298398" cy="1209203"/>
          </a:xfrm>
        </p:spPr>
        <p:txBody>
          <a:bodyPr anchor="b"/>
          <a:lstStyle>
            <a:lvl1pPr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51BE49-7FC1-7F45-96A8-30D50BEBD39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514081" y="1765006"/>
            <a:ext cx="3298398" cy="4686024"/>
          </a:xfrm>
        </p:spPr>
        <p:txBody>
          <a:bodyPr>
            <a:normAutofit/>
          </a:bodyPr>
          <a:lstStyle>
            <a:lvl1pPr marL="342900" indent="-342900">
              <a:buFont typeface="Wingdings" pitchFamily="2" charset="2"/>
              <a:buChar char="§"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E55AEE7-671A-2C43-B410-4A97E530928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-11076709" y="6254040"/>
            <a:ext cx="2743200" cy="365125"/>
          </a:xfrm>
        </p:spPr>
        <p:txBody>
          <a:bodyPr/>
          <a:lstStyle/>
          <a:p>
            <a:fld id="{978044AF-CED4-0041-B851-6374C8DF4BD0}" type="datetimeFigureOut">
              <a:rPr lang="en-FI" smtClean="0"/>
              <a:t>09/09/2022</a:t>
            </a:fld>
            <a:endParaRPr lang="en-FI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C0FD9B-7C2B-DA4E-BB16-11449988A4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258" y="750359"/>
            <a:ext cx="7751378" cy="5302101"/>
          </a:xfrm>
          <a:solidFill>
            <a:schemeClr val="bg1"/>
          </a:solidFill>
          <a:effectLst/>
        </p:spPr>
        <p:txBody>
          <a:bodyPr/>
          <a:lstStyle>
            <a:lvl1pPr marL="0" indent="0">
              <a:buNone/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endParaRPr lang="en-FI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865686B-D548-F04B-9F95-4BB9882EC715}"/>
              </a:ext>
            </a:extLst>
          </p:cNvPr>
          <p:cNvSpPr txBox="1"/>
          <p:nvPr userDrawn="1"/>
        </p:nvSpPr>
        <p:spPr>
          <a:xfrm>
            <a:off x="42530" y="17012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419796277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small objec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Hexagon 22">
            <a:extLst>
              <a:ext uri="{FF2B5EF4-FFF2-40B4-BE49-F238E27FC236}">
                <a16:creationId xmlns:a16="http://schemas.microsoft.com/office/drawing/2014/main" id="{E0512FA2-B2E7-A046-9900-5FB09F7164EB}"/>
              </a:ext>
            </a:extLst>
          </p:cNvPr>
          <p:cNvSpPr/>
          <p:nvPr userDrawn="1"/>
        </p:nvSpPr>
        <p:spPr>
          <a:xfrm>
            <a:off x="4232888" y="84"/>
            <a:ext cx="7962385" cy="6858076"/>
          </a:xfrm>
          <a:custGeom>
            <a:avLst/>
            <a:gdLst>
              <a:gd name="connsiteX0" fmla="*/ 0 w 14000547"/>
              <a:gd name="connsiteY0" fmla="*/ 6034719 h 12069437"/>
              <a:gd name="connsiteX1" fmla="*/ 3017359 w 14000547"/>
              <a:gd name="connsiteY1" fmla="*/ 3 h 12069437"/>
              <a:gd name="connsiteX2" fmla="*/ 10983188 w 14000547"/>
              <a:gd name="connsiteY2" fmla="*/ 3 h 12069437"/>
              <a:gd name="connsiteX3" fmla="*/ 14000547 w 14000547"/>
              <a:gd name="connsiteY3" fmla="*/ 6034719 h 12069437"/>
              <a:gd name="connsiteX4" fmla="*/ 10983188 w 14000547"/>
              <a:gd name="connsiteY4" fmla="*/ 12069434 h 12069437"/>
              <a:gd name="connsiteX5" fmla="*/ 3017359 w 14000547"/>
              <a:gd name="connsiteY5" fmla="*/ 12069434 h 12069437"/>
              <a:gd name="connsiteX6" fmla="*/ 0 w 14000547"/>
              <a:gd name="connsiteY6" fmla="*/ 6034719 h 12069437"/>
              <a:gd name="connsiteX0" fmla="*/ 0 w 14000547"/>
              <a:gd name="connsiteY0" fmla="*/ 6034716 h 12069431"/>
              <a:gd name="connsiteX1" fmla="*/ 875050 w 14000547"/>
              <a:gd name="connsiteY1" fmla="*/ 4271555 h 12069431"/>
              <a:gd name="connsiteX2" fmla="*/ 10983188 w 14000547"/>
              <a:gd name="connsiteY2" fmla="*/ 0 h 12069431"/>
              <a:gd name="connsiteX3" fmla="*/ 14000547 w 14000547"/>
              <a:gd name="connsiteY3" fmla="*/ 6034716 h 12069431"/>
              <a:gd name="connsiteX4" fmla="*/ 10983188 w 14000547"/>
              <a:gd name="connsiteY4" fmla="*/ 12069431 h 12069431"/>
              <a:gd name="connsiteX5" fmla="*/ 3017359 w 14000547"/>
              <a:gd name="connsiteY5" fmla="*/ 12069431 h 12069431"/>
              <a:gd name="connsiteX6" fmla="*/ 0 w 14000547"/>
              <a:gd name="connsiteY6" fmla="*/ 6034716 h 12069431"/>
              <a:gd name="connsiteX0" fmla="*/ 0 w 14000547"/>
              <a:gd name="connsiteY0" fmla="*/ 1763161 h 7797876"/>
              <a:gd name="connsiteX1" fmla="*/ 875050 w 14000547"/>
              <a:gd name="connsiteY1" fmla="*/ 0 h 7797876"/>
              <a:gd name="connsiteX2" fmla="*/ 8017920 w 14000547"/>
              <a:gd name="connsiteY2" fmla="*/ 613954 h 7797876"/>
              <a:gd name="connsiteX3" fmla="*/ 14000547 w 14000547"/>
              <a:gd name="connsiteY3" fmla="*/ 1763161 h 7797876"/>
              <a:gd name="connsiteX4" fmla="*/ 10983188 w 14000547"/>
              <a:gd name="connsiteY4" fmla="*/ 7797876 h 7797876"/>
              <a:gd name="connsiteX5" fmla="*/ 3017359 w 14000547"/>
              <a:gd name="connsiteY5" fmla="*/ 7797876 h 7797876"/>
              <a:gd name="connsiteX6" fmla="*/ 0 w 14000547"/>
              <a:gd name="connsiteY6" fmla="*/ 1763161 h 7797876"/>
              <a:gd name="connsiteX0" fmla="*/ 0 w 14000547"/>
              <a:gd name="connsiteY0" fmla="*/ 1763161 h 7797876"/>
              <a:gd name="connsiteX1" fmla="*/ 875050 w 14000547"/>
              <a:gd name="connsiteY1" fmla="*/ 0 h 7797876"/>
              <a:gd name="connsiteX2" fmla="*/ 8017920 w 14000547"/>
              <a:gd name="connsiteY2" fmla="*/ 613954 h 7797876"/>
              <a:gd name="connsiteX3" fmla="*/ 14000547 w 14000547"/>
              <a:gd name="connsiteY3" fmla="*/ 1763161 h 7797876"/>
              <a:gd name="connsiteX4" fmla="*/ 8187736 w 14000547"/>
              <a:gd name="connsiteY4" fmla="*/ 7797876 h 7797876"/>
              <a:gd name="connsiteX5" fmla="*/ 3017359 w 14000547"/>
              <a:gd name="connsiteY5" fmla="*/ 7797876 h 7797876"/>
              <a:gd name="connsiteX6" fmla="*/ 0 w 14000547"/>
              <a:gd name="connsiteY6" fmla="*/ 1763161 h 7797876"/>
              <a:gd name="connsiteX0" fmla="*/ 0 w 8187736"/>
              <a:gd name="connsiteY0" fmla="*/ 1763161 h 7797876"/>
              <a:gd name="connsiteX1" fmla="*/ 875050 w 8187736"/>
              <a:gd name="connsiteY1" fmla="*/ 0 h 7797876"/>
              <a:gd name="connsiteX2" fmla="*/ 8017920 w 8187736"/>
              <a:gd name="connsiteY2" fmla="*/ 613954 h 7797876"/>
              <a:gd name="connsiteX3" fmla="*/ 8187736 w 8187736"/>
              <a:gd name="connsiteY3" fmla="*/ 7797876 h 7797876"/>
              <a:gd name="connsiteX4" fmla="*/ 3017359 w 8187736"/>
              <a:gd name="connsiteY4" fmla="*/ 7797876 h 7797876"/>
              <a:gd name="connsiteX5" fmla="*/ 0 w 8187736"/>
              <a:gd name="connsiteY5" fmla="*/ 1763161 h 7797876"/>
              <a:gd name="connsiteX0" fmla="*/ 0 w 8187736"/>
              <a:gd name="connsiteY0" fmla="*/ 1149207 h 7183922"/>
              <a:gd name="connsiteX1" fmla="*/ 528975 w 8187736"/>
              <a:gd name="connsiteY1" fmla="*/ 84546 h 7183922"/>
              <a:gd name="connsiteX2" fmla="*/ 8017920 w 8187736"/>
              <a:gd name="connsiteY2" fmla="*/ 0 h 7183922"/>
              <a:gd name="connsiteX3" fmla="*/ 8187736 w 8187736"/>
              <a:gd name="connsiteY3" fmla="*/ 7183922 h 7183922"/>
              <a:gd name="connsiteX4" fmla="*/ 3017359 w 8187736"/>
              <a:gd name="connsiteY4" fmla="*/ 7183922 h 7183922"/>
              <a:gd name="connsiteX5" fmla="*/ 0 w 8187736"/>
              <a:gd name="connsiteY5" fmla="*/ 1149207 h 7183922"/>
              <a:gd name="connsiteX0" fmla="*/ 0 w 8187736"/>
              <a:gd name="connsiteY0" fmla="*/ 1069832 h 7104547"/>
              <a:gd name="connsiteX1" fmla="*/ 528975 w 8187736"/>
              <a:gd name="connsiteY1" fmla="*/ 5171 h 7104547"/>
              <a:gd name="connsiteX2" fmla="*/ 7960770 w 8187736"/>
              <a:gd name="connsiteY2" fmla="*/ 0 h 7104547"/>
              <a:gd name="connsiteX3" fmla="*/ 8187736 w 8187736"/>
              <a:gd name="connsiteY3" fmla="*/ 7104547 h 7104547"/>
              <a:gd name="connsiteX4" fmla="*/ 3017359 w 8187736"/>
              <a:gd name="connsiteY4" fmla="*/ 7104547 h 7104547"/>
              <a:gd name="connsiteX5" fmla="*/ 0 w 8187736"/>
              <a:gd name="connsiteY5" fmla="*/ 1069832 h 7104547"/>
              <a:gd name="connsiteX0" fmla="*/ 0 w 7960770"/>
              <a:gd name="connsiteY0" fmla="*/ 1069832 h 7104547"/>
              <a:gd name="connsiteX1" fmla="*/ 528975 w 7960770"/>
              <a:gd name="connsiteY1" fmla="*/ 5171 h 7104547"/>
              <a:gd name="connsiteX2" fmla="*/ 7960770 w 7960770"/>
              <a:gd name="connsiteY2" fmla="*/ 0 h 7104547"/>
              <a:gd name="connsiteX3" fmla="*/ 7959136 w 7960770"/>
              <a:gd name="connsiteY3" fmla="*/ 6863247 h 7104547"/>
              <a:gd name="connsiteX4" fmla="*/ 3017359 w 7960770"/>
              <a:gd name="connsiteY4" fmla="*/ 7104547 h 7104547"/>
              <a:gd name="connsiteX5" fmla="*/ 0 w 7960770"/>
              <a:gd name="connsiteY5" fmla="*/ 1069832 h 7104547"/>
              <a:gd name="connsiteX0" fmla="*/ 0 w 7960770"/>
              <a:gd name="connsiteY0" fmla="*/ 1069832 h 6866422"/>
              <a:gd name="connsiteX1" fmla="*/ 528975 w 7960770"/>
              <a:gd name="connsiteY1" fmla="*/ 5171 h 6866422"/>
              <a:gd name="connsiteX2" fmla="*/ 7960770 w 7960770"/>
              <a:gd name="connsiteY2" fmla="*/ 0 h 6866422"/>
              <a:gd name="connsiteX3" fmla="*/ 7959136 w 7960770"/>
              <a:gd name="connsiteY3" fmla="*/ 6863247 h 6866422"/>
              <a:gd name="connsiteX4" fmla="*/ 2899884 w 7960770"/>
              <a:gd name="connsiteY4" fmla="*/ 6866422 h 6866422"/>
              <a:gd name="connsiteX5" fmla="*/ 0 w 7960770"/>
              <a:gd name="connsiteY5" fmla="*/ 1069832 h 6866422"/>
              <a:gd name="connsiteX0" fmla="*/ 0 w 7960770"/>
              <a:gd name="connsiteY0" fmla="*/ 1069832 h 6866422"/>
              <a:gd name="connsiteX1" fmla="*/ 528975 w 7960770"/>
              <a:gd name="connsiteY1" fmla="*/ 5171 h 6866422"/>
              <a:gd name="connsiteX2" fmla="*/ 7960770 w 7960770"/>
              <a:gd name="connsiteY2" fmla="*/ 0 h 6866422"/>
              <a:gd name="connsiteX3" fmla="*/ 7959136 w 7960770"/>
              <a:gd name="connsiteY3" fmla="*/ 6863247 h 6866422"/>
              <a:gd name="connsiteX4" fmla="*/ 2899884 w 7960770"/>
              <a:gd name="connsiteY4" fmla="*/ 6866422 h 6866422"/>
              <a:gd name="connsiteX5" fmla="*/ 0 w 7960770"/>
              <a:gd name="connsiteY5" fmla="*/ 1069832 h 6866422"/>
              <a:gd name="connsiteX0" fmla="*/ 0 w 7960770"/>
              <a:gd name="connsiteY0" fmla="*/ 1069832 h 6939447"/>
              <a:gd name="connsiteX1" fmla="*/ 528975 w 7960770"/>
              <a:gd name="connsiteY1" fmla="*/ 5171 h 6939447"/>
              <a:gd name="connsiteX2" fmla="*/ 7960770 w 7960770"/>
              <a:gd name="connsiteY2" fmla="*/ 0 h 6939447"/>
              <a:gd name="connsiteX3" fmla="*/ 7959136 w 7960770"/>
              <a:gd name="connsiteY3" fmla="*/ 6863247 h 6939447"/>
              <a:gd name="connsiteX4" fmla="*/ 2934809 w 7960770"/>
              <a:gd name="connsiteY4" fmla="*/ 6939447 h 6939447"/>
              <a:gd name="connsiteX5" fmla="*/ 0 w 7960770"/>
              <a:gd name="connsiteY5" fmla="*/ 1069832 h 6939447"/>
              <a:gd name="connsiteX0" fmla="*/ 0 w 7960770"/>
              <a:gd name="connsiteY0" fmla="*/ 1069832 h 6863247"/>
              <a:gd name="connsiteX1" fmla="*/ 528975 w 7960770"/>
              <a:gd name="connsiteY1" fmla="*/ 5171 h 6863247"/>
              <a:gd name="connsiteX2" fmla="*/ 7960770 w 7960770"/>
              <a:gd name="connsiteY2" fmla="*/ 0 h 6863247"/>
              <a:gd name="connsiteX3" fmla="*/ 7959136 w 7960770"/>
              <a:gd name="connsiteY3" fmla="*/ 6863247 h 6863247"/>
              <a:gd name="connsiteX4" fmla="*/ 2896709 w 7960770"/>
              <a:gd name="connsiteY4" fmla="*/ 6863247 h 6863247"/>
              <a:gd name="connsiteX5" fmla="*/ 0 w 7960770"/>
              <a:gd name="connsiteY5" fmla="*/ 1069832 h 6863247"/>
              <a:gd name="connsiteX0" fmla="*/ 0 w 7960770"/>
              <a:gd name="connsiteY0" fmla="*/ 1064661 h 6858076"/>
              <a:gd name="connsiteX1" fmla="*/ 528975 w 7960770"/>
              <a:gd name="connsiteY1" fmla="*/ 0 h 6858076"/>
              <a:gd name="connsiteX2" fmla="*/ 7960770 w 7960770"/>
              <a:gd name="connsiteY2" fmla="*/ 217079 h 6858076"/>
              <a:gd name="connsiteX3" fmla="*/ 7959136 w 7960770"/>
              <a:gd name="connsiteY3" fmla="*/ 6858076 h 6858076"/>
              <a:gd name="connsiteX4" fmla="*/ 2896709 w 7960770"/>
              <a:gd name="connsiteY4" fmla="*/ 6858076 h 6858076"/>
              <a:gd name="connsiteX5" fmla="*/ 0 w 7960770"/>
              <a:gd name="connsiteY5" fmla="*/ 1064661 h 6858076"/>
              <a:gd name="connsiteX0" fmla="*/ 0 w 7959210"/>
              <a:gd name="connsiteY0" fmla="*/ 1064661 h 6858076"/>
              <a:gd name="connsiteX1" fmla="*/ 528975 w 7959210"/>
              <a:gd name="connsiteY1" fmla="*/ 0 h 6858076"/>
              <a:gd name="connsiteX2" fmla="*/ 7957595 w 7959210"/>
              <a:gd name="connsiteY2" fmla="*/ 1179 h 6858076"/>
              <a:gd name="connsiteX3" fmla="*/ 7959136 w 7959210"/>
              <a:gd name="connsiteY3" fmla="*/ 6858076 h 6858076"/>
              <a:gd name="connsiteX4" fmla="*/ 2896709 w 7959210"/>
              <a:gd name="connsiteY4" fmla="*/ 6858076 h 6858076"/>
              <a:gd name="connsiteX5" fmla="*/ 0 w 7959210"/>
              <a:gd name="connsiteY5" fmla="*/ 1064661 h 6858076"/>
              <a:gd name="connsiteX0" fmla="*/ 0 w 7959210"/>
              <a:gd name="connsiteY0" fmla="*/ 1064661 h 6858076"/>
              <a:gd name="connsiteX1" fmla="*/ 528975 w 7959210"/>
              <a:gd name="connsiteY1" fmla="*/ 0 h 6858076"/>
              <a:gd name="connsiteX2" fmla="*/ 7957595 w 7959210"/>
              <a:gd name="connsiteY2" fmla="*/ 1179 h 6858076"/>
              <a:gd name="connsiteX3" fmla="*/ 7959136 w 7959210"/>
              <a:gd name="connsiteY3" fmla="*/ 6858076 h 6858076"/>
              <a:gd name="connsiteX4" fmla="*/ 2896709 w 7959210"/>
              <a:gd name="connsiteY4" fmla="*/ 6858076 h 6858076"/>
              <a:gd name="connsiteX5" fmla="*/ 0 w 7959210"/>
              <a:gd name="connsiteY5" fmla="*/ 1064661 h 6858076"/>
              <a:gd name="connsiteX0" fmla="*/ 0 w 7973470"/>
              <a:gd name="connsiteY0" fmla="*/ 1064661 h 6858076"/>
              <a:gd name="connsiteX1" fmla="*/ 528975 w 7973470"/>
              <a:gd name="connsiteY1" fmla="*/ 0 h 6858076"/>
              <a:gd name="connsiteX2" fmla="*/ 7973470 w 7973470"/>
              <a:gd name="connsiteY2" fmla="*/ 1179 h 6858076"/>
              <a:gd name="connsiteX3" fmla="*/ 7959136 w 7973470"/>
              <a:gd name="connsiteY3" fmla="*/ 6858076 h 6858076"/>
              <a:gd name="connsiteX4" fmla="*/ 2896709 w 7973470"/>
              <a:gd name="connsiteY4" fmla="*/ 6858076 h 6858076"/>
              <a:gd name="connsiteX5" fmla="*/ 0 w 7973470"/>
              <a:gd name="connsiteY5" fmla="*/ 1064661 h 6858076"/>
              <a:gd name="connsiteX0" fmla="*/ 0 w 7960770"/>
              <a:gd name="connsiteY0" fmla="*/ 1064661 h 6858076"/>
              <a:gd name="connsiteX1" fmla="*/ 528975 w 7960770"/>
              <a:gd name="connsiteY1" fmla="*/ 0 h 6858076"/>
              <a:gd name="connsiteX2" fmla="*/ 7960770 w 7960770"/>
              <a:gd name="connsiteY2" fmla="*/ 1179 h 6858076"/>
              <a:gd name="connsiteX3" fmla="*/ 7959136 w 7960770"/>
              <a:gd name="connsiteY3" fmla="*/ 6858076 h 6858076"/>
              <a:gd name="connsiteX4" fmla="*/ 2896709 w 7960770"/>
              <a:gd name="connsiteY4" fmla="*/ 6858076 h 6858076"/>
              <a:gd name="connsiteX5" fmla="*/ 0 w 7960770"/>
              <a:gd name="connsiteY5" fmla="*/ 1064661 h 6858076"/>
              <a:gd name="connsiteX0" fmla="*/ 0 w 7960770"/>
              <a:gd name="connsiteY0" fmla="*/ 1064661 h 6858076"/>
              <a:gd name="connsiteX1" fmla="*/ 528975 w 7960770"/>
              <a:gd name="connsiteY1" fmla="*/ 0 h 6858076"/>
              <a:gd name="connsiteX2" fmla="*/ 7960770 w 7960770"/>
              <a:gd name="connsiteY2" fmla="*/ 1179 h 6858076"/>
              <a:gd name="connsiteX3" fmla="*/ 7857536 w 7960770"/>
              <a:gd name="connsiteY3" fmla="*/ 6858076 h 6858076"/>
              <a:gd name="connsiteX4" fmla="*/ 2896709 w 7960770"/>
              <a:gd name="connsiteY4" fmla="*/ 6858076 h 6858076"/>
              <a:gd name="connsiteX5" fmla="*/ 0 w 7960770"/>
              <a:gd name="connsiteY5" fmla="*/ 1064661 h 6858076"/>
              <a:gd name="connsiteX0" fmla="*/ 0 w 7962385"/>
              <a:gd name="connsiteY0" fmla="*/ 1064661 h 6861251"/>
              <a:gd name="connsiteX1" fmla="*/ 528975 w 7962385"/>
              <a:gd name="connsiteY1" fmla="*/ 0 h 6861251"/>
              <a:gd name="connsiteX2" fmla="*/ 7960770 w 7962385"/>
              <a:gd name="connsiteY2" fmla="*/ 1179 h 6861251"/>
              <a:gd name="connsiteX3" fmla="*/ 7962311 w 7962385"/>
              <a:gd name="connsiteY3" fmla="*/ 6861251 h 6861251"/>
              <a:gd name="connsiteX4" fmla="*/ 2896709 w 7962385"/>
              <a:gd name="connsiteY4" fmla="*/ 6858076 h 6861251"/>
              <a:gd name="connsiteX5" fmla="*/ 0 w 7962385"/>
              <a:gd name="connsiteY5" fmla="*/ 1064661 h 6861251"/>
              <a:gd name="connsiteX0" fmla="*/ 0 w 7962385"/>
              <a:gd name="connsiteY0" fmla="*/ 1064661 h 6858076"/>
              <a:gd name="connsiteX1" fmla="*/ 528975 w 7962385"/>
              <a:gd name="connsiteY1" fmla="*/ 0 h 6858076"/>
              <a:gd name="connsiteX2" fmla="*/ 7960770 w 7962385"/>
              <a:gd name="connsiteY2" fmla="*/ 1179 h 6858076"/>
              <a:gd name="connsiteX3" fmla="*/ 7962311 w 7962385"/>
              <a:gd name="connsiteY3" fmla="*/ 6858076 h 6858076"/>
              <a:gd name="connsiteX4" fmla="*/ 2896709 w 7962385"/>
              <a:gd name="connsiteY4" fmla="*/ 6858076 h 6858076"/>
              <a:gd name="connsiteX5" fmla="*/ 0 w 7962385"/>
              <a:gd name="connsiteY5" fmla="*/ 1064661 h 6858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62385" h="6858076">
                <a:moveTo>
                  <a:pt x="0" y="1064661"/>
                </a:moveTo>
                <a:lnTo>
                  <a:pt x="528975" y="0"/>
                </a:lnTo>
                <a:lnTo>
                  <a:pt x="7960770" y="1179"/>
                </a:lnTo>
                <a:cubicBezTo>
                  <a:pt x="7960225" y="2288928"/>
                  <a:pt x="7962856" y="4570327"/>
                  <a:pt x="7962311" y="6858076"/>
                </a:cubicBezTo>
                <a:lnTo>
                  <a:pt x="2896709" y="6858076"/>
                </a:lnTo>
                <a:lnTo>
                  <a:pt x="0" y="1064661"/>
                </a:lnTo>
                <a:close/>
              </a:path>
            </a:pathLst>
          </a:custGeom>
          <a:solidFill>
            <a:srgbClr val="006AB6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10" name="Hexagon 12">
            <a:extLst>
              <a:ext uri="{FF2B5EF4-FFF2-40B4-BE49-F238E27FC236}">
                <a16:creationId xmlns:a16="http://schemas.microsoft.com/office/drawing/2014/main" id="{9E8A1A9C-59A2-A640-AEFA-FBA11399EC51}"/>
              </a:ext>
            </a:extLst>
          </p:cNvPr>
          <p:cNvSpPr/>
          <p:nvPr userDrawn="1"/>
        </p:nvSpPr>
        <p:spPr>
          <a:xfrm>
            <a:off x="-1350" y="-3364"/>
            <a:ext cx="4575076" cy="965398"/>
          </a:xfrm>
          <a:custGeom>
            <a:avLst/>
            <a:gdLst>
              <a:gd name="connsiteX0" fmla="*/ 0 w 9777166"/>
              <a:gd name="connsiteY0" fmla="*/ 4214296 h 8428591"/>
              <a:gd name="connsiteX1" fmla="*/ 2107148 w 9777166"/>
              <a:gd name="connsiteY1" fmla="*/ 2 h 8428591"/>
              <a:gd name="connsiteX2" fmla="*/ 7670018 w 9777166"/>
              <a:gd name="connsiteY2" fmla="*/ 2 h 8428591"/>
              <a:gd name="connsiteX3" fmla="*/ 9777166 w 9777166"/>
              <a:gd name="connsiteY3" fmla="*/ 4214296 h 8428591"/>
              <a:gd name="connsiteX4" fmla="*/ 7670018 w 9777166"/>
              <a:gd name="connsiteY4" fmla="*/ 8428589 h 8428591"/>
              <a:gd name="connsiteX5" fmla="*/ 2107148 w 9777166"/>
              <a:gd name="connsiteY5" fmla="*/ 8428589 h 8428591"/>
              <a:gd name="connsiteX6" fmla="*/ 0 w 9777166"/>
              <a:gd name="connsiteY6" fmla="*/ 4214296 h 8428591"/>
              <a:gd name="connsiteX0" fmla="*/ 0 w 8368990"/>
              <a:gd name="connsiteY0" fmla="*/ 4214294 h 8428587"/>
              <a:gd name="connsiteX1" fmla="*/ 2107148 w 8368990"/>
              <a:gd name="connsiteY1" fmla="*/ 0 h 8428587"/>
              <a:gd name="connsiteX2" fmla="*/ 7670018 w 8368990"/>
              <a:gd name="connsiteY2" fmla="*/ 0 h 8428587"/>
              <a:gd name="connsiteX3" fmla="*/ 8368990 w 8368990"/>
              <a:gd name="connsiteY3" fmla="*/ 7039790 h 8428587"/>
              <a:gd name="connsiteX4" fmla="*/ 7670018 w 8368990"/>
              <a:gd name="connsiteY4" fmla="*/ 8428587 h 8428587"/>
              <a:gd name="connsiteX5" fmla="*/ 2107148 w 8368990"/>
              <a:gd name="connsiteY5" fmla="*/ 8428587 h 8428587"/>
              <a:gd name="connsiteX6" fmla="*/ 0 w 8368990"/>
              <a:gd name="connsiteY6" fmla="*/ 4214294 h 8428587"/>
              <a:gd name="connsiteX0" fmla="*/ 1321852 w 6261842"/>
              <a:gd name="connsiteY0" fmla="*/ 7524422 h 8428587"/>
              <a:gd name="connsiteX1" fmla="*/ 0 w 6261842"/>
              <a:gd name="connsiteY1" fmla="*/ 0 h 8428587"/>
              <a:gd name="connsiteX2" fmla="*/ 5562870 w 6261842"/>
              <a:gd name="connsiteY2" fmla="*/ 0 h 8428587"/>
              <a:gd name="connsiteX3" fmla="*/ 6261842 w 6261842"/>
              <a:gd name="connsiteY3" fmla="*/ 7039790 h 8428587"/>
              <a:gd name="connsiteX4" fmla="*/ 5562870 w 6261842"/>
              <a:gd name="connsiteY4" fmla="*/ 8428587 h 8428587"/>
              <a:gd name="connsiteX5" fmla="*/ 0 w 6261842"/>
              <a:gd name="connsiteY5" fmla="*/ 8428587 h 8428587"/>
              <a:gd name="connsiteX6" fmla="*/ 1321852 w 6261842"/>
              <a:gd name="connsiteY6" fmla="*/ 7524422 h 8428587"/>
              <a:gd name="connsiteX0" fmla="*/ 1321852 w 6261842"/>
              <a:gd name="connsiteY0" fmla="*/ 7524422 h 8428587"/>
              <a:gd name="connsiteX1" fmla="*/ 0 w 6261842"/>
              <a:gd name="connsiteY1" fmla="*/ 0 h 8428587"/>
              <a:gd name="connsiteX2" fmla="*/ 5562870 w 6261842"/>
              <a:gd name="connsiteY2" fmla="*/ 0 h 8428587"/>
              <a:gd name="connsiteX3" fmla="*/ 6261842 w 6261842"/>
              <a:gd name="connsiteY3" fmla="*/ 7039790 h 8428587"/>
              <a:gd name="connsiteX4" fmla="*/ 5562870 w 6261842"/>
              <a:gd name="connsiteY4" fmla="*/ 8428587 h 8428587"/>
              <a:gd name="connsiteX5" fmla="*/ 1316736 w 6261842"/>
              <a:gd name="connsiteY5" fmla="*/ 8428587 h 8428587"/>
              <a:gd name="connsiteX6" fmla="*/ 1321852 w 6261842"/>
              <a:gd name="connsiteY6" fmla="*/ 7524422 h 8428587"/>
              <a:gd name="connsiteX0" fmla="*/ 5116 w 4945106"/>
              <a:gd name="connsiteY0" fmla="*/ 7524422 h 8428587"/>
              <a:gd name="connsiteX1" fmla="*/ 4246134 w 4945106"/>
              <a:gd name="connsiteY1" fmla="*/ 0 h 8428587"/>
              <a:gd name="connsiteX2" fmla="*/ 4945106 w 4945106"/>
              <a:gd name="connsiteY2" fmla="*/ 7039790 h 8428587"/>
              <a:gd name="connsiteX3" fmla="*/ 4246134 w 4945106"/>
              <a:gd name="connsiteY3" fmla="*/ 8428587 h 8428587"/>
              <a:gd name="connsiteX4" fmla="*/ 0 w 4945106"/>
              <a:gd name="connsiteY4" fmla="*/ 8428587 h 8428587"/>
              <a:gd name="connsiteX5" fmla="*/ 5116 w 4945106"/>
              <a:gd name="connsiteY5" fmla="*/ 7524422 h 8428587"/>
              <a:gd name="connsiteX0" fmla="*/ 5116 w 4945106"/>
              <a:gd name="connsiteY0" fmla="*/ 484632 h 1388797"/>
              <a:gd name="connsiteX1" fmla="*/ 4945106 w 4945106"/>
              <a:gd name="connsiteY1" fmla="*/ 0 h 1388797"/>
              <a:gd name="connsiteX2" fmla="*/ 4246134 w 4945106"/>
              <a:gd name="connsiteY2" fmla="*/ 1388797 h 1388797"/>
              <a:gd name="connsiteX3" fmla="*/ 0 w 4945106"/>
              <a:gd name="connsiteY3" fmla="*/ 1388797 h 1388797"/>
              <a:gd name="connsiteX4" fmla="*/ 5116 w 4945106"/>
              <a:gd name="connsiteY4" fmla="*/ 484632 h 1388797"/>
              <a:gd name="connsiteX0" fmla="*/ 5116 w 4731627"/>
              <a:gd name="connsiteY0" fmla="*/ 61233 h 965398"/>
              <a:gd name="connsiteX1" fmla="*/ 4731627 w 4731627"/>
              <a:gd name="connsiteY1" fmla="*/ 0 h 965398"/>
              <a:gd name="connsiteX2" fmla="*/ 4246134 w 4731627"/>
              <a:gd name="connsiteY2" fmla="*/ 965398 h 965398"/>
              <a:gd name="connsiteX3" fmla="*/ 0 w 4731627"/>
              <a:gd name="connsiteY3" fmla="*/ 965398 h 965398"/>
              <a:gd name="connsiteX4" fmla="*/ 5116 w 4731627"/>
              <a:gd name="connsiteY4" fmla="*/ 61233 h 965398"/>
              <a:gd name="connsiteX0" fmla="*/ 150993 w 4731627"/>
              <a:gd name="connsiteY0" fmla="*/ 747 h 965398"/>
              <a:gd name="connsiteX1" fmla="*/ 4731627 w 4731627"/>
              <a:gd name="connsiteY1" fmla="*/ 0 h 965398"/>
              <a:gd name="connsiteX2" fmla="*/ 4246134 w 4731627"/>
              <a:gd name="connsiteY2" fmla="*/ 965398 h 965398"/>
              <a:gd name="connsiteX3" fmla="*/ 0 w 4731627"/>
              <a:gd name="connsiteY3" fmla="*/ 965398 h 965398"/>
              <a:gd name="connsiteX4" fmla="*/ 150993 w 4731627"/>
              <a:gd name="connsiteY4" fmla="*/ 747 h 965398"/>
              <a:gd name="connsiteX0" fmla="*/ 217 w 4580851"/>
              <a:gd name="connsiteY0" fmla="*/ 747 h 965398"/>
              <a:gd name="connsiteX1" fmla="*/ 4580851 w 4580851"/>
              <a:gd name="connsiteY1" fmla="*/ 0 h 965398"/>
              <a:gd name="connsiteX2" fmla="*/ 4095358 w 4580851"/>
              <a:gd name="connsiteY2" fmla="*/ 965398 h 965398"/>
              <a:gd name="connsiteX3" fmla="*/ 5775 w 4580851"/>
              <a:gd name="connsiteY3" fmla="*/ 965398 h 965398"/>
              <a:gd name="connsiteX4" fmla="*/ 217 w 4580851"/>
              <a:gd name="connsiteY4" fmla="*/ 747 h 965398"/>
              <a:gd name="connsiteX0" fmla="*/ 217 w 4580851"/>
              <a:gd name="connsiteY0" fmla="*/ 0 h 968209"/>
              <a:gd name="connsiteX1" fmla="*/ 4580851 w 4580851"/>
              <a:gd name="connsiteY1" fmla="*/ 2811 h 968209"/>
              <a:gd name="connsiteX2" fmla="*/ 4095358 w 4580851"/>
              <a:gd name="connsiteY2" fmla="*/ 968209 h 968209"/>
              <a:gd name="connsiteX3" fmla="*/ 5775 w 4580851"/>
              <a:gd name="connsiteY3" fmla="*/ 968209 h 968209"/>
              <a:gd name="connsiteX4" fmla="*/ 217 w 4580851"/>
              <a:gd name="connsiteY4" fmla="*/ 0 h 968209"/>
              <a:gd name="connsiteX0" fmla="*/ 792 w 4575076"/>
              <a:gd name="connsiteY0" fmla="*/ 364 h 965398"/>
              <a:gd name="connsiteX1" fmla="*/ 4575076 w 4575076"/>
              <a:gd name="connsiteY1" fmla="*/ 0 h 965398"/>
              <a:gd name="connsiteX2" fmla="*/ 4089583 w 4575076"/>
              <a:gd name="connsiteY2" fmla="*/ 965398 h 965398"/>
              <a:gd name="connsiteX3" fmla="*/ 0 w 4575076"/>
              <a:gd name="connsiteY3" fmla="*/ 965398 h 965398"/>
              <a:gd name="connsiteX4" fmla="*/ 792 w 4575076"/>
              <a:gd name="connsiteY4" fmla="*/ 364 h 965398"/>
              <a:gd name="connsiteX0" fmla="*/ 317 w 4577776"/>
              <a:gd name="connsiteY0" fmla="*/ 364 h 965398"/>
              <a:gd name="connsiteX1" fmla="*/ 4577776 w 4577776"/>
              <a:gd name="connsiteY1" fmla="*/ 0 h 965398"/>
              <a:gd name="connsiteX2" fmla="*/ 4092283 w 4577776"/>
              <a:gd name="connsiteY2" fmla="*/ 965398 h 965398"/>
              <a:gd name="connsiteX3" fmla="*/ 2700 w 4577776"/>
              <a:gd name="connsiteY3" fmla="*/ 965398 h 965398"/>
              <a:gd name="connsiteX4" fmla="*/ 317 w 4577776"/>
              <a:gd name="connsiteY4" fmla="*/ 364 h 965398"/>
              <a:gd name="connsiteX0" fmla="*/ 792 w 4575076"/>
              <a:gd name="connsiteY0" fmla="*/ 3539 h 965398"/>
              <a:gd name="connsiteX1" fmla="*/ 4575076 w 4575076"/>
              <a:gd name="connsiteY1" fmla="*/ 0 h 965398"/>
              <a:gd name="connsiteX2" fmla="*/ 4089583 w 4575076"/>
              <a:gd name="connsiteY2" fmla="*/ 965398 h 965398"/>
              <a:gd name="connsiteX3" fmla="*/ 0 w 4575076"/>
              <a:gd name="connsiteY3" fmla="*/ 965398 h 965398"/>
              <a:gd name="connsiteX4" fmla="*/ 792 w 4575076"/>
              <a:gd name="connsiteY4" fmla="*/ 3539 h 965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75076" h="965398">
                <a:moveTo>
                  <a:pt x="792" y="3539"/>
                </a:moveTo>
                <a:lnTo>
                  <a:pt x="4575076" y="0"/>
                </a:lnTo>
                <a:lnTo>
                  <a:pt x="4089583" y="965398"/>
                </a:lnTo>
                <a:lnTo>
                  <a:pt x="0" y="965398"/>
                </a:lnTo>
                <a:cubicBezTo>
                  <a:pt x="1705" y="664010"/>
                  <a:pt x="-913" y="304927"/>
                  <a:pt x="792" y="3539"/>
                </a:cubicBezTo>
                <a:close/>
              </a:path>
            </a:pathLst>
          </a:custGeom>
          <a:solidFill>
            <a:srgbClr val="006AB6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D85EA8-CDDA-F144-9CCD-1F28C5D39C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516" y="93229"/>
            <a:ext cx="5289764" cy="1334122"/>
          </a:xfrm>
          <a:ln>
            <a:noFill/>
          </a:ln>
        </p:spPr>
        <p:txBody>
          <a:bodyPr anchor="b"/>
          <a:lstStyle>
            <a:lvl1pPr>
              <a:defRPr sz="3000" b="1"/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C0FD9B-7C2B-DA4E-BB16-11449988A4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403412"/>
            <a:ext cx="5716484" cy="6047601"/>
          </a:xfrm>
        </p:spPr>
        <p:txBody>
          <a:bodyPr/>
          <a:lstStyle>
            <a:lvl1pPr marL="0" indent="0">
              <a:buNone/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endParaRPr lang="en-FI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51BE49-7FC1-7F45-96A8-30D50BEBD39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79516" y="1738366"/>
            <a:ext cx="5289764" cy="4712657"/>
          </a:xfrm>
        </p:spPr>
        <p:txBody>
          <a:bodyPr>
            <a:normAutofit/>
          </a:bodyPr>
          <a:lstStyle>
            <a:lvl1pPr marL="342900" indent="-342900">
              <a:buFont typeface="Wingdings" pitchFamily="2" charset="2"/>
              <a:buChar char="§"/>
              <a:defRPr sz="2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E55AEE7-671A-2C43-B410-4A97E530928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-12295909" y="6254040"/>
            <a:ext cx="2743200" cy="365125"/>
          </a:xfrm>
        </p:spPr>
        <p:txBody>
          <a:bodyPr/>
          <a:lstStyle/>
          <a:p>
            <a:fld id="{978044AF-CED4-0041-B851-6374C8DF4BD0}" type="datetimeFigureOut">
              <a:rPr lang="en-FI" smtClean="0"/>
              <a:t>09/09/2022</a:t>
            </a:fld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159085347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small object -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exagon 22">
            <a:extLst>
              <a:ext uri="{FF2B5EF4-FFF2-40B4-BE49-F238E27FC236}">
                <a16:creationId xmlns:a16="http://schemas.microsoft.com/office/drawing/2014/main" id="{C4776F3A-A77C-814D-89F7-ECAD85CAA58C}"/>
              </a:ext>
            </a:extLst>
          </p:cNvPr>
          <p:cNvSpPr/>
          <p:nvPr userDrawn="1"/>
        </p:nvSpPr>
        <p:spPr>
          <a:xfrm>
            <a:off x="4232888" y="84"/>
            <a:ext cx="7962385" cy="6858076"/>
          </a:xfrm>
          <a:custGeom>
            <a:avLst/>
            <a:gdLst>
              <a:gd name="connsiteX0" fmla="*/ 0 w 14000547"/>
              <a:gd name="connsiteY0" fmla="*/ 6034719 h 12069437"/>
              <a:gd name="connsiteX1" fmla="*/ 3017359 w 14000547"/>
              <a:gd name="connsiteY1" fmla="*/ 3 h 12069437"/>
              <a:gd name="connsiteX2" fmla="*/ 10983188 w 14000547"/>
              <a:gd name="connsiteY2" fmla="*/ 3 h 12069437"/>
              <a:gd name="connsiteX3" fmla="*/ 14000547 w 14000547"/>
              <a:gd name="connsiteY3" fmla="*/ 6034719 h 12069437"/>
              <a:gd name="connsiteX4" fmla="*/ 10983188 w 14000547"/>
              <a:gd name="connsiteY4" fmla="*/ 12069434 h 12069437"/>
              <a:gd name="connsiteX5" fmla="*/ 3017359 w 14000547"/>
              <a:gd name="connsiteY5" fmla="*/ 12069434 h 12069437"/>
              <a:gd name="connsiteX6" fmla="*/ 0 w 14000547"/>
              <a:gd name="connsiteY6" fmla="*/ 6034719 h 12069437"/>
              <a:gd name="connsiteX0" fmla="*/ 0 w 14000547"/>
              <a:gd name="connsiteY0" fmla="*/ 6034716 h 12069431"/>
              <a:gd name="connsiteX1" fmla="*/ 875050 w 14000547"/>
              <a:gd name="connsiteY1" fmla="*/ 4271555 h 12069431"/>
              <a:gd name="connsiteX2" fmla="*/ 10983188 w 14000547"/>
              <a:gd name="connsiteY2" fmla="*/ 0 h 12069431"/>
              <a:gd name="connsiteX3" fmla="*/ 14000547 w 14000547"/>
              <a:gd name="connsiteY3" fmla="*/ 6034716 h 12069431"/>
              <a:gd name="connsiteX4" fmla="*/ 10983188 w 14000547"/>
              <a:gd name="connsiteY4" fmla="*/ 12069431 h 12069431"/>
              <a:gd name="connsiteX5" fmla="*/ 3017359 w 14000547"/>
              <a:gd name="connsiteY5" fmla="*/ 12069431 h 12069431"/>
              <a:gd name="connsiteX6" fmla="*/ 0 w 14000547"/>
              <a:gd name="connsiteY6" fmla="*/ 6034716 h 12069431"/>
              <a:gd name="connsiteX0" fmla="*/ 0 w 14000547"/>
              <a:gd name="connsiteY0" fmla="*/ 1763161 h 7797876"/>
              <a:gd name="connsiteX1" fmla="*/ 875050 w 14000547"/>
              <a:gd name="connsiteY1" fmla="*/ 0 h 7797876"/>
              <a:gd name="connsiteX2" fmla="*/ 8017920 w 14000547"/>
              <a:gd name="connsiteY2" fmla="*/ 613954 h 7797876"/>
              <a:gd name="connsiteX3" fmla="*/ 14000547 w 14000547"/>
              <a:gd name="connsiteY3" fmla="*/ 1763161 h 7797876"/>
              <a:gd name="connsiteX4" fmla="*/ 10983188 w 14000547"/>
              <a:gd name="connsiteY4" fmla="*/ 7797876 h 7797876"/>
              <a:gd name="connsiteX5" fmla="*/ 3017359 w 14000547"/>
              <a:gd name="connsiteY5" fmla="*/ 7797876 h 7797876"/>
              <a:gd name="connsiteX6" fmla="*/ 0 w 14000547"/>
              <a:gd name="connsiteY6" fmla="*/ 1763161 h 7797876"/>
              <a:gd name="connsiteX0" fmla="*/ 0 w 14000547"/>
              <a:gd name="connsiteY0" fmla="*/ 1763161 h 7797876"/>
              <a:gd name="connsiteX1" fmla="*/ 875050 w 14000547"/>
              <a:gd name="connsiteY1" fmla="*/ 0 h 7797876"/>
              <a:gd name="connsiteX2" fmla="*/ 8017920 w 14000547"/>
              <a:gd name="connsiteY2" fmla="*/ 613954 h 7797876"/>
              <a:gd name="connsiteX3" fmla="*/ 14000547 w 14000547"/>
              <a:gd name="connsiteY3" fmla="*/ 1763161 h 7797876"/>
              <a:gd name="connsiteX4" fmla="*/ 8187736 w 14000547"/>
              <a:gd name="connsiteY4" fmla="*/ 7797876 h 7797876"/>
              <a:gd name="connsiteX5" fmla="*/ 3017359 w 14000547"/>
              <a:gd name="connsiteY5" fmla="*/ 7797876 h 7797876"/>
              <a:gd name="connsiteX6" fmla="*/ 0 w 14000547"/>
              <a:gd name="connsiteY6" fmla="*/ 1763161 h 7797876"/>
              <a:gd name="connsiteX0" fmla="*/ 0 w 8187736"/>
              <a:gd name="connsiteY0" fmla="*/ 1763161 h 7797876"/>
              <a:gd name="connsiteX1" fmla="*/ 875050 w 8187736"/>
              <a:gd name="connsiteY1" fmla="*/ 0 h 7797876"/>
              <a:gd name="connsiteX2" fmla="*/ 8017920 w 8187736"/>
              <a:gd name="connsiteY2" fmla="*/ 613954 h 7797876"/>
              <a:gd name="connsiteX3" fmla="*/ 8187736 w 8187736"/>
              <a:gd name="connsiteY3" fmla="*/ 7797876 h 7797876"/>
              <a:gd name="connsiteX4" fmla="*/ 3017359 w 8187736"/>
              <a:gd name="connsiteY4" fmla="*/ 7797876 h 7797876"/>
              <a:gd name="connsiteX5" fmla="*/ 0 w 8187736"/>
              <a:gd name="connsiteY5" fmla="*/ 1763161 h 7797876"/>
              <a:gd name="connsiteX0" fmla="*/ 0 w 8187736"/>
              <a:gd name="connsiteY0" fmla="*/ 1149207 h 7183922"/>
              <a:gd name="connsiteX1" fmla="*/ 528975 w 8187736"/>
              <a:gd name="connsiteY1" fmla="*/ 84546 h 7183922"/>
              <a:gd name="connsiteX2" fmla="*/ 8017920 w 8187736"/>
              <a:gd name="connsiteY2" fmla="*/ 0 h 7183922"/>
              <a:gd name="connsiteX3" fmla="*/ 8187736 w 8187736"/>
              <a:gd name="connsiteY3" fmla="*/ 7183922 h 7183922"/>
              <a:gd name="connsiteX4" fmla="*/ 3017359 w 8187736"/>
              <a:gd name="connsiteY4" fmla="*/ 7183922 h 7183922"/>
              <a:gd name="connsiteX5" fmla="*/ 0 w 8187736"/>
              <a:gd name="connsiteY5" fmla="*/ 1149207 h 7183922"/>
              <a:gd name="connsiteX0" fmla="*/ 0 w 8187736"/>
              <a:gd name="connsiteY0" fmla="*/ 1069832 h 7104547"/>
              <a:gd name="connsiteX1" fmla="*/ 528975 w 8187736"/>
              <a:gd name="connsiteY1" fmla="*/ 5171 h 7104547"/>
              <a:gd name="connsiteX2" fmla="*/ 7960770 w 8187736"/>
              <a:gd name="connsiteY2" fmla="*/ 0 h 7104547"/>
              <a:gd name="connsiteX3" fmla="*/ 8187736 w 8187736"/>
              <a:gd name="connsiteY3" fmla="*/ 7104547 h 7104547"/>
              <a:gd name="connsiteX4" fmla="*/ 3017359 w 8187736"/>
              <a:gd name="connsiteY4" fmla="*/ 7104547 h 7104547"/>
              <a:gd name="connsiteX5" fmla="*/ 0 w 8187736"/>
              <a:gd name="connsiteY5" fmla="*/ 1069832 h 7104547"/>
              <a:gd name="connsiteX0" fmla="*/ 0 w 7960770"/>
              <a:gd name="connsiteY0" fmla="*/ 1069832 h 7104547"/>
              <a:gd name="connsiteX1" fmla="*/ 528975 w 7960770"/>
              <a:gd name="connsiteY1" fmla="*/ 5171 h 7104547"/>
              <a:gd name="connsiteX2" fmla="*/ 7960770 w 7960770"/>
              <a:gd name="connsiteY2" fmla="*/ 0 h 7104547"/>
              <a:gd name="connsiteX3" fmla="*/ 7959136 w 7960770"/>
              <a:gd name="connsiteY3" fmla="*/ 6863247 h 7104547"/>
              <a:gd name="connsiteX4" fmla="*/ 3017359 w 7960770"/>
              <a:gd name="connsiteY4" fmla="*/ 7104547 h 7104547"/>
              <a:gd name="connsiteX5" fmla="*/ 0 w 7960770"/>
              <a:gd name="connsiteY5" fmla="*/ 1069832 h 7104547"/>
              <a:gd name="connsiteX0" fmla="*/ 0 w 7960770"/>
              <a:gd name="connsiteY0" fmla="*/ 1069832 h 6866422"/>
              <a:gd name="connsiteX1" fmla="*/ 528975 w 7960770"/>
              <a:gd name="connsiteY1" fmla="*/ 5171 h 6866422"/>
              <a:gd name="connsiteX2" fmla="*/ 7960770 w 7960770"/>
              <a:gd name="connsiteY2" fmla="*/ 0 h 6866422"/>
              <a:gd name="connsiteX3" fmla="*/ 7959136 w 7960770"/>
              <a:gd name="connsiteY3" fmla="*/ 6863247 h 6866422"/>
              <a:gd name="connsiteX4" fmla="*/ 2899884 w 7960770"/>
              <a:gd name="connsiteY4" fmla="*/ 6866422 h 6866422"/>
              <a:gd name="connsiteX5" fmla="*/ 0 w 7960770"/>
              <a:gd name="connsiteY5" fmla="*/ 1069832 h 6866422"/>
              <a:gd name="connsiteX0" fmla="*/ 0 w 7960770"/>
              <a:gd name="connsiteY0" fmla="*/ 1069832 h 6866422"/>
              <a:gd name="connsiteX1" fmla="*/ 528975 w 7960770"/>
              <a:gd name="connsiteY1" fmla="*/ 5171 h 6866422"/>
              <a:gd name="connsiteX2" fmla="*/ 7960770 w 7960770"/>
              <a:gd name="connsiteY2" fmla="*/ 0 h 6866422"/>
              <a:gd name="connsiteX3" fmla="*/ 7959136 w 7960770"/>
              <a:gd name="connsiteY3" fmla="*/ 6863247 h 6866422"/>
              <a:gd name="connsiteX4" fmla="*/ 2899884 w 7960770"/>
              <a:gd name="connsiteY4" fmla="*/ 6866422 h 6866422"/>
              <a:gd name="connsiteX5" fmla="*/ 0 w 7960770"/>
              <a:gd name="connsiteY5" fmla="*/ 1069832 h 6866422"/>
              <a:gd name="connsiteX0" fmla="*/ 0 w 7960770"/>
              <a:gd name="connsiteY0" fmla="*/ 1069832 h 6939447"/>
              <a:gd name="connsiteX1" fmla="*/ 528975 w 7960770"/>
              <a:gd name="connsiteY1" fmla="*/ 5171 h 6939447"/>
              <a:gd name="connsiteX2" fmla="*/ 7960770 w 7960770"/>
              <a:gd name="connsiteY2" fmla="*/ 0 h 6939447"/>
              <a:gd name="connsiteX3" fmla="*/ 7959136 w 7960770"/>
              <a:gd name="connsiteY3" fmla="*/ 6863247 h 6939447"/>
              <a:gd name="connsiteX4" fmla="*/ 2934809 w 7960770"/>
              <a:gd name="connsiteY4" fmla="*/ 6939447 h 6939447"/>
              <a:gd name="connsiteX5" fmla="*/ 0 w 7960770"/>
              <a:gd name="connsiteY5" fmla="*/ 1069832 h 6939447"/>
              <a:gd name="connsiteX0" fmla="*/ 0 w 7960770"/>
              <a:gd name="connsiteY0" fmla="*/ 1069832 h 6863247"/>
              <a:gd name="connsiteX1" fmla="*/ 528975 w 7960770"/>
              <a:gd name="connsiteY1" fmla="*/ 5171 h 6863247"/>
              <a:gd name="connsiteX2" fmla="*/ 7960770 w 7960770"/>
              <a:gd name="connsiteY2" fmla="*/ 0 h 6863247"/>
              <a:gd name="connsiteX3" fmla="*/ 7959136 w 7960770"/>
              <a:gd name="connsiteY3" fmla="*/ 6863247 h 6863247"/>
              <a:gd name="connsiteX4" fmla="*/ 2896709 w 7960770"/>
              <a:gd name="connsiteY4" fmla="*/ 6863247 h 6863247"/>
              <a:gd name="connsiteX5" fmla="*/ 0 w 7960770"/>
              <a:gd name="connsiteY5" fmla="*/ 1069832 h 6863247"/>
              <a:gd name="connsiteX0" fmla="*/ 0 w 7960770"/>
              <a:gd name="connsiteY0" fmla="*/ 1064661 h 6858076"/>
              <a:gd name="connsiteX1" fmla="*/ 528975 w 7960770"/>
              <a:gd name="connsiteY1" fmla="*/ 0 h 6858076"/>
              <a:gd name="connsiteX2" fmla="*/ 7960770 w 7960770"/>
              <a:gd name="connsiteY2" fmla="*/ 217079 h 6858076"/>
              <a:gd name="connsiteX3" fmla="*/ 7959136 w 7960770"/>
              <a:gd name="connsiteY3" fmla="*/ 6858076 h 6858076"/>
              <a:gd name="connsiteX4" fmla="*/ 2896709 w 7960770"/>
              <a:gd name="connsiteY4" fmla="*/ 6858076 h 6858076"/>
              <a:gd name="connsiteX5" fmla="*/ 0 w 7960770"/>
              <a:gd name="connsiteY5" fmla="*/ 1064661 h 6858076"/>
              <a:gd name="connsiteX0" fmla="*/ 0 w 7959210"/>
              <a:gd name="connsiteY0" fmla="*/ 1064661 h 6858076"/>
              <a:gd name="connsiteX1" fmla="*/ 528975 w 7959210"/>
              <a:gd name="connsiteY1" fmla="*/ 0 h 6858076"/>
              <a:gd name="connsiteX2" fmla="*/ 7957595 w 7959210"/>
              <a:gd name="connsiteY2" fmla="*/ 1179 h 6858076"/>
              <a:gd name="connsiteX3" fmla="*/ 7959136 w 7959210"/>
              <a:gd name="connsiteY3" fmla="*/ 6858076 h 6858076"/>
              <a:gd name="connsiteX4" fmla="*/ 2896709 w 7959210"/>
              <a:gd name="connsiteY4" fmla="*/ 6858076 h 6858076"/>
              <a:gd name="connsiteX5" fmla="*/ 0 w 7959210"/>
              <a:gd name="connsiteY5" fmla="*/ 1064661 h 6858076"/>
              <a:gd name="connsiteX0" fmla="*/ 0 w 7959210"/>
              <a:gd name="connsiteY0" fmla="*/ 1064661 h 6858076"/>
              <a:gd name="connsiteX1" fmla="*/ 528975 w 7959210"/>
              <a:gd name="connsiteY1" fmla="*/ 0 h 6858076"/>
              <a:gd name="connsiteX2" fmla="*/ 7957595 w 7959210"/>
              <a:gd name="connsiteY2" fmla="*/ 1179 h 6858076"/>
              <a:gd name="connsiteX3" fmla="*/ 7959136 w 7959210"/>
              <a:gd name="connsiteY3" fmla="*/ 6858076 h 6858076"/>
              <a:gd name="connsiteX4" fmla="*/ 2896709 w 7959210"/>
              <a:gd name="connsiteY4" fmla="*/ 6858076 h 6858076"/>
              <a:gd name="connsiteX5" fmla="*/ 0 w 7959210"/>
              <a:gd name="connsiteY5" fmla="*/ 1064661 h 6858076"/>
              <a:gd name="connsiteX0" fmla="*/ 0 w 7973470"/>
              <a:gd name="connsiteY0" fmla="*/ 1064661 h 6858076"/>
              <a:gd name="connsiteX1" fmla="*/ 528975 w 7973470"/>
              <a:gd name="connsiteY1" fmla="*/ 0 h 6858076"/>
              <a:gd name="connsiteX2" fmla="*/ 7973470 w 7973470"/>
              <a:gd name="connsiteY2" fmla="*/ 1179 h 6858076"/>
              <a:gd name="connsiteX3" fmla="*/ 7959136 w 7973470"/>
              <a:gd name="connsiteY3" fmla="*/ 6858076 h 6858076"/>
              <a:gd name="connsiteX4" fmla="*/ 2896709 w 7973470"/>
              <a:gd name="connsiteY4" fmla="*/ 6858076 h 6858076"/>
              <a:gd name="connsiteX5" fmla="*/ 0 w 7973470"/>
              <a:gd name="connsiteY5" fmla="*/ 1064661 h 6858076"/>
              <a:gd name="connsiteX0" fmla="*/ 0 w 7960770"/>
              <a:gd name="connsiteY0" fmla="*/ 1064661 h 6858076"/>
              <a:gd name="connsiteX1" fmla="*/ 528975 w 7960770"/>
              <a:gd name="connsiteY1" fmla="*/ 0 h 6858076"/>
              <a:gd name="connsiteX2" fmla="*/ 7960770 w 7960770"/>
              <a:gd name="connsiteY2" fmla="*/ 1179 h 6858076"/>
              <a:gd name="connsiteX3" fmla="*/ 7959136 w 7960770"/>
              <a:gd name="connsiteY3" fmla="*/ 6858076 h 6858076"/>
              <a:gd name="connsiteX4" fmla="*/ 2896709 w 7960770"/>
              <a:gd name="connsiteY4" fmla="*/ 6858076 h 6858076"/>
              <a:gd name="connsiteX5" fmla="*/ 0 w 7960770"/>
              <a:gd name="connsiteY5" fmla="*/ 1064661 h 6858076"/>
              <a:gd name="connsiteX0" fmla="*/ 0 w 7960770"/>
              <a:gd name="connsiteY0" fmla="*/ 1064661 h 6858076"/>
              <a:gd name="connsiteX1" fmla="*/ 528975 w 7960770"/>
              <a:gd name="connsiteY1" fmla="*/ 0 h 6858076"/>
              <a:gd name="connsiteX2" fmla="*/ 7960770 w 7960770"/>
              <a:gd name="connsiteY2" fmla="*/ 1179 h 6858076"/>
              <a:gd name="connsiteX3" fmla="*/ 7857536 w 7960770"/>
              <a:gd name="connsiteY3" fmla="*/ 6858076 h 6858076"/>
              <a:gd name="connsiteX4" fmla="*/ 2896709 w 7960770"/>
              <a:gd name="connsiteY4" fmla="*/ 6858076 h 6858076"/>
              <a:gd name="connsiteX5" fmla="*/ 0 w 7960770"/>
              <a:gd name="connsiteY5" fmla="*/ 1064661 h 6858076"/>
              <a:gd name="connsiteX0" fmla="*/ 0 w 7962385"/>
              <a:gd name="connsiteY0" fmla="*/ 1064661 h 6861251"/>
              <a:gd name="connsiteX1" fmla="*/ 528975 w 7962385"/>
              <a:gd name="connsiteY1" fmla="*/ 0 h 6861251"/>
              <a:gd name="connsiteX2" fmla="*/ 7960770 w 7962385"/>
              <a:gd name="connsiteY2" fmla="*/ 1179 h 6861251"/>
              <a:gd name="connsiteX3" fmla="*/ 7962311 w 7962385"/>
              <a:gd name="connsiteY3" fmla="*/ 6861251 h 6861251"/>
              <a:gd name="connsiteX4" fmla="*/ 2896709 w 7962385"/>
              <a:gd name="connsiteY4" fmla="*/ 6858076 h 6861251"/>
              <a:gd name="connsiteX5" fmla="*/ 0 w 7962385"/>
              <a:gd name="connsiteY5" fmla="*/ 1064661 h 6861251"/>
              <a:gd name="connsiteX0" fmla="*/ 0 w 7962385"/>
              <a:gd name="connsiteY0" fmla="*/ 1064661 h 6858076"/>
              <a:gd name="connsiteX1" fmla="*/ 528975 w 7962385"/>
              <a:gd name="connsiteY1" fmla="*/ 0 h 6858076"/>
              <a:gd name="connsiteX2" fmla="*/ 7960770 w 7962385"/>
              <a:gd name="connsiteY2" fmla="*/ 1179 h 6858076"/>
              <a:gd name="connsiteX3" fmla="*/ 7962311 w 7962385"/>
              <a:gd name="connsiteY3" fmla="*/ 6858076 h 6858076"/>
              <a:gd name="connsiteX4" fmla="*/ 2896709 w 7962385"/>
              <a:gd name="connsiteY4" fmla="*/ 6858076 h 6858076"/>
              <a:gd name="connsiteX5" fmla="*/ 0 w 7962385"/>
              <a:gd name="connsiteY5" fmla="*/ 1064661 h 6858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62385" h="6858076">
                <a:moveTo>
                  <a:pt x="0" y="1064661"/>
                </a:moveTo>
                <a:lnTo>
                  <a:pt x="528975" y="0"/>
                </a:lnTo>
                <a:lnTo>
                  <a:pt x="7960770" y="1179"/>
                </a:lnTo>
                <a:cubicBezTo>
                  <a:pt x="7960225" y="2288928"/>
                  <a:pt x="7962856" y="4570327"/>
                  <a:pt x="7962311" y="6858076"/>
                </a:cubicBezTo>
                <a:lnTo>
                  <a:pt x="2896709" y="6858076"/>
                </a:lnTo>
                <a:lnTo>
                  <a:pt x="0" y="1064661"/>
                </a:lnTo>
                <a:close/>
              </a:path>
            </a:pathLst>
          </a:custGeom>
          <a:solidFill>
            <a:srgbClr val="006AB6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10" name="Hexagon 12">
            <a:extLst>
              <a:ext uri="{FF2B5EF4-FFF2-40B4-BE49-F238E27FC236}">
                <a16:creationId xmlns:a16="http://schemas.microsoft.com/office/drawing/2014/main" id="{A97129E2-47C0-EC4A-98C5-131AD03D9205}"/>
              </a:ext>
            </a:extLst>
          </p:cNvPr>
          <p:cNvSpPr/>
          <p:nvPr userDrawn="1"/>
        </p:nvSpPr>
        <p:spPr>
          <a:xfrm>
            <a:off x="-1350" y="-3364"/>
            <a:ext cx="4575076" cy="965398"/>
          </a:xfrm>
          <a:custGeom>
            <a:avLst/>
            <a:gdLst>
              <a:gd name="connsiteX0" fmla="*/ 0 w 9777166"/>
              <a:gd name="connsiteY0" fmla="*/ 4214296 h 8428591"/>
              <a:gd name="connsiteX1" fmla="*/ 2107148 w 9777166"/>
              <a:gd name="connsiteY1" fmla="*/ 2 h 8428591"/>
              <a:gd name="connsiteX2" fmla="*/ 7670018 w 9777166"/>
              <a:gd name="connsiteY2" fmla="*/ 2 h 8428591"/>
              <a:gd name="connsiteX3" fmla="*/ 9777166 w 9777166"/>
              <a:gd name="connsiteY3" fmla="*/ 4214296 h 8428591"/>
              <a:gd name="connsiteX4" fmla="*/ 7670018 w 9777166"/>
              <a:gd name="connsiteY4" fmla="*/ 8428589 h 8428591"/>
              <a:gd name="connsiteX5" fmla="*/ 2107148 w 9777166"/>
              <a:gd name="connsiteY5" fmla="*/ 8428589 h 8428591"/>
              <a:gd name="connsiteX6" fmla="*/ 0 w 9777166"/>
              <a:gd name="connsiteY6" fmla="*/ 4214296 h 8428591"/>
              <a:gd name="connsiteX0" fmla="*/ 0 w 8368990"/>
              <a:gd name="connsiteY0" fmla="*/ 4214294 h 8428587"/>
              <a:gd name="connsiteX1" fmla="*/ 2107148 w 8368990"/>
              <a:gd name="connsiteY1" fmla="*/ 0 h 8428587"/>
              <a:gd name="connsiteX2" fmla="*/ 7670018 w 8368990"/>
              <a:gd name="connsiteY2" fmla="*/ 0 h 8428587"/>
              <a:gd name="connsiteX3" fmla="*/ 8368990 w 8368990"/>
              <a:gd name="connsiteY3" fmla="*/ 7039790 h 8428587"/>
              <a:gd name="connsiteX4" fmla="*/ 7670018 w 8368990"/>
              <a:gd name="connsiteY4" fmla="*/ 8428587 h 8428587"/>
              <a:gd name="connsiteX5" fmla="*/ 2107148 w 8368990"/>
              <a:gd name="connsiteY5" fmla="*/ 8428587 h 8428587"/>
              <a:gd name="connsiteX6" fmla="*/ 0 w 8368990"/>
              <a:gd name="connsiteY6" fmla="*/ 4214294 h 8428587"/>
              <a:gd name="connsiteX0" fmla="*/ 1321852 w 6261842"/>
              <a:gd name="connsiteY0" fmla="*/ 7524422 h 8428587"/>
              <a:gd name="connsiteX1" fmla="*/ 0 w 6261842"/>
              <a:gd name="connsiteY1" fmla="*/ 0 h 8428587"/>
              <a:gd name="connsiteX2" fmla="*/ 5562870 w 6261842"/>
              <a:gd name="connsiteY2" fmla="*/ 0 h 8428587"/>
              <a:gd name="connsiteX3" fmla="*/ 6261842 w 6261842"/>
              <a:gd name="connsiteY3" fmla="*/ 7039790 h 8428587"/>
              <a:gd name="connsiteX4" fmla="*/ 5562870 w 6261842"/>
              <a:gd name="connsiteY4" fmla="*/ 8428587 h 8428587"/>
              <a:gd name="connsiteX5" fmla="*/ 0 w 6261842"/>
              <a:gd name="connsiteY5" fmla="*/ 8428587 h 8428587"/>
              <a:gd name="connsiteX6" fmla="*/ 1321852 w 6261842"/>
              <a:gd name="connsiteY6" fmla="*/ 7524422 h 8428587"/>
              <a:gd name="connsiteX0" fmla="*/ 1321852 w 6261842"/>
              <a:gd name="connsiteY0" fmla="*/ 7524422 h 8428587"/>
              <a:gd name="connsiteX1" fmla="*/ 0 w 6261842"/>
              <a:gd name="connsiteY1" fmla="*/ 0 h 8428587"/>
              <a:gd name="connsiteX2" fmla="*/ 5562870 w 6261842"/>
              <a:gd name="connsiteY2" fmla="*/ 0 h 8428587"/>
              <a:gd name="connsiteX3" fmla="*/ 6261842 w 6261842"/>
              <a:gd name="connsiteY3" fmla="*/ 7039790 h 8428587"/>
              <a:gd name="connsiteX4" fmla="*/ 5562870 w 6261842"/>
              <a:gd name="connsiteY4" fmla="*/ 8428587 h 8428587"/>
              <a:gd name="connsiteX5" fmla="*/ 1316736 w 6261842"/>
              <a:gd name="connsiteY5" fmla="*/ 8428587 h 8428587"/>
              <a:gd name="connsiteX6" fmla="*/ 1321852 w 6261842"/>
              <a:gd name="connsiteY6" fmla="*/ 7524422 h 8428587"/>
              <a:gd name="connsiteX0" fmla="*/ 5116 w 4945106"/>
              <a:gd name="connsiteY0" fmla="*/ 7524422 h 8428587"/>
              <a:gd name="connsiteX1" fmla="*/ 4246134 w 4945106"/>
              <a:gd name="connsiteY1" fmla="*/ 0 h 8428587"/>
              <a:gd name="connsiteX2" fmla="*/ 4945106 w 4945106"/>
              <a:gd name="connsiteY2" fmla="*/ 7039790 h 8428587"/>
              <a:gd name="connsiteX3" fmla="*/ 4246134 w 4945106"/>
              <a:gd name="connsiteY3" fmla="*/ 8428587 h 8428587"/>
              <a:gd name="connsiteX4" fmla="*/ 0 w 4945106"/>
              <a:gd name="connsiteY4" fmla="*/ 8428587 h 8428587"/>
              <a:gd name="connsiteX5" fmla="*/ 5116 w 4945106"/>
              <a:gd name="connsiteY5" fmla="*/ 7524422 h 8428587"/>
              <a:gd name="connsiteX0" fmla="*/ 5116 w 4945106"/>
              <a:gd name="connsiteY0" fmla="*/ 484632 h 1388797"/>
              <a:gd name="connsiteX1" fmla="*/ 4945106 w 4945106"/>
              <a:gd name="connsiteY1" fmla="*/ 0 h 1388797"/>
              <a:gd name="connsiteX2" fmla="*/ 4246134 w 4945106"/>
              <a:gd name="connsiteY2" fmla="*/ 1388797 h 1388797"/>
              <a:gd name="connsiteX3" fmla="*/ 0 w 4945106"/>
              <a:gd name="connsiteY3" fmla="*/ 1388797 h 1388797"/>
              <a:gd name="connsiteX4" fmla="*/ 5116 w 4945106"/>
              <a:gd name="connsiteY4" fmla="*/ 484632 h 1388797"/>
              <a:gd name="connsiteX0" fmla="*/ 5116 w 4731627"/>
              <a:gd name="connsiteY0" fmla="*/ 61233 h 965398"/>
              <a:gd name="connsiteX1" fmla="*/ 4731627 w 4731627"/>
              <a:gd name="connsiteY1" fmla="*/ 0 h 965398"/>
              <a:gd name="connsiteX2" fmla="*/ 4246134 w 4731627"/>
              <a:gd name="connsiteY2" fmla="*/ 965398 h 965398"/>
              <a:gd name="connsiteX3" fmla="*/ 0 w 4731627"/>
              <a:gd name="connsiteY3" fmla="*/ 965398 h 965398"/>
              <a:gd name="connsiteX4" fmla="*/ 5116 w 4731627"/>
              <a:gd name="connsiteY4" fmla="*/ 61233 h 965398"/>
              <a:gd name="connsiteX0" fmla="*/ 150993 w 4731627"/>
              <a:gd name="connsiteY0" fmla="*/ 747 h 965398"/>
              <a:gd name="connsiteX1" fmla="*/ 4731627 w 4731627"/>
              <a:gd name="connsiteY1" fmla="*/ 0 h 965398"/>
              <a:gd name="connsiteX2" fmla="*/ 4246134 w 4731627"/>
              <a:gd name="connsiteY2" fmla="*/ 965398 h 965398"/>
              <a:gd name="connsiteX3" fmla="*/ 0 w 4731627"/>
              <a:gd name="connsiteY3" fmla="*/ 965398 h 965398"/>
              <a:gd name="connsiteX4" fmla="*/ 150993 w 4731627"/>
              <a:gd name="connsiteY4" fmla="*/ 747 h 965398"/>
              <a:gd name="connsiteX0" fmla="*/ 217 w 4580851"/>
              <a:gd name="connsiteY0" fmla="*/ 747 h 965398"/>
              <a:gd name="connsiteX1" fmla="*/ 4580851 w 4580851"/>
              <a:gd name="connsiteY1" fmla="*/ 0 h 965398"/>
              <a:gd name="connsiteX2" fmla="*/ 4095358 w 4580851"/>
              <a:gd name="connsiteY2" fmla="*/ 965398 h 965398"/>
              <a:gd name="connsiteX3" fmla="*/ 5775 w 4580851"/>
              <a:gd name="connsiteY3" fmla="*/ 965398 h 965398"/>
              <a:gd name="connsiteX4" fmla="*/ 217 w 4580851"/>
              <a:gd name="connsiteY4" fmla="*/ 747 h 965398"/>
              <a:gd name="connsiteX0" fmla="*/ 217 w 4580851"/>
              <a:gd name="connsiteY0" fmla="*/ 0 h 968209"/>
              <a:gd name="connsiteX1" fmla="*/ 4580851 w 4580851"/>
              <a:gd name="connsiteY1" fmla="*/ 2811 h 968209"/>
              <a:gd name="connsiteX2" fmla="*/ 4095358 w 4580851"/>
              <a:gd name="connsiteY2" fmla="*/ 968209 h 968209"/>
              <a:gd name="connsiteX3" fmla="*/ 5775 w 4580851"/>
              <a:gd name="connsiteY3" fmla="*/ 968209 h 968209"/>
              <a:gd name="connsiteX4" fmla="*/ 217 w 4580851"/>
              <a:gd name="connsiteY4" fmla="*/ 0 h 968209"/>
              <a:gd name="connsiteX0" fmla="*/ 792 w 4575076"/>
              <a:gd name="connsiteY0" fmla="*/ 364 h 965398"/>
              <a:gd name="connsiteX1" fmla="*/ 4575076 w 4575076"/>
              <a:gd name="connsiteY1" fmla="*/ 0 h 965398"/>
              <a:gd name="connsiteX2" fmla="*/ 4089583 w 4575076"/>
              <a:gd name="connsiteY2" fmla="*/ 965398 h 965398"/>
              <a:gd name="connsiteX3" fmla="*/ 0 w 4575076"/>
              <a:gd name="connsiteY3" fmla="*/ 965398 h 965398"/>
              <a:gd name="connsiteX4" fmla="*/ 792 w 4575076"/>
              <a:gd name="connsiteY4" fmla="*/ 364 h 965398"/>
              <a:gd name="connsiteX0" fmla="*/ 317 w 4577776"/>
              <a:gd name="connsiteY0" fmla="*/ 364 h 965398"/>
              <a:gd name="connsiteX1" fmla="*/ 4577776 w 4577776"/>
              <a:gd name="connsiteY1" fmla="*/ 0 h 965398"/>
              <a:gd name="connsiteX2" fmla="*/ 4092283 w 4577776"/>
              <a:gd name="connsiteY2" fmla="*/ 965398 h 965398"/>
              <a:gd name="connsiteX3" fmla="*/ 2700 w 4577776"/>
              <a:gd name="connsiteY3" fmla="*/ 965398 h 965398"/>
              <a:gd name="connsiteX4" fmla="*/ 317 w 4577776"/>
              <a:gd name="connsiteY4" fmla="*/ 364 h 965398"/>
              <a:gd name="connsiteX0" fmla="*/ 792 w 4575076"/>
              <a:gd name="connsiteY0" fmla="*/ 3539 h 965398"/>
              <a:gd name="connsiteX1" fmla="*/ 4575076 w 4575076"/>
              <a:gd name="connsiteY1" fmla="*/ 0 h 965398"/>
              <a:gd name="connsiteX2" fmla="*/ 4089583 w 4575076"/>
              <a:gd name="connsiteY2" fmla="*/ 965398 h 965398"/>
              <a:gd name="connsiteX3" fmla="*/ 0 w 4575076"/>
              <a:gd name="connsiteY3" fmla="*/ 965398 h 965398"/>
              <a:gd name="connsiteX4" fmla="*/ 792 w 4575076"/>
              <a:gd name="connsiteY4" fmla="*/ 3539 h 965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75076" h="965398">
                <a:moveTo>
                  <a:pt x="792" y="3539"/>
                </a:moveTo>
                <a:lnTo>
                  <a:pt x="4575076" y="0"/>
                </a:lnTo>
                <a:lnTo>
                  <a:pt x="4089583" y="965398"/>
                </a:lnTo>
                <a:lnTo>
                  <a:pt x="0" y="965398"/>
                </a:lnTo>
                <a:cubicBezTo>
                  <a:pt x="1705" y="664010"/>
                  <a:pt x="-913" y="304927"/>
                  <a:pt x="792" y="3539"/>
                </a:cubicBezTo>
                <a:close/>
              </a:path>
            </a:pathLst>
          </a:custGeom>
          <a:solidFill>
            <a:srgbClr val="006AB6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D85EA8-CDDA-F144-9CCD-1F28C5D39C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516" y="83290"/>
            <a:ext cx="5289764" cy="1334122"/>
          </a:xfrm>
          <a:ln>
            <a:noFill/>
          </a:ln>
        </p:spPr>
        <p:txBody>
          <a:bodyPr anchor="b"/>
          <a:lstStyle>
            <a:lvl1pPr>
              <a:defRPr sz="3000" b="1"/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C0FD9B-7C2B-DA4E-BB16-11449988A4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403412"/>
            <a:ext cx="5716484" cy="6047601"/>
          </a:xfrm>
        </p:spPr>
        <p:txBody>
          <a:bodyPr/>
          <a:lstStyle>
            <a:lvl1pPr marL="0" indent="0">
              <a:buNone/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endParaRPr lang="en-FI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51BE49-7FC1-7F45-96A8-30D50BEBD39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79516" y="1738366"/>
            <a:ext cx="5289764" cy="4712657"/>
          </a:xfrm>
        </p:spPr>
        <p:txBody>
          <a:bodyPr>
            <a:normAutofit/>
          </a:bodyPr>
          <a:lstStyle>
            <a:lvl1pPr marL="342900" indent="-342900">
              <a:buFont typeface="Wingdings" pitchFamily="2" charset="2"/>
              <a:buChar char="§"/>
              <a:defRPr sz="2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E55AEE7-671A-2C43-B410-4A97E530928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-12295909" y="6254040"/>
            <a:ext cx="2743200" cy="365125"/>
          </a:xfrm>
        </p:spPr>
        <p:txBody>
          <a:bodyPr/>
          <a:lstStyle/>
          <a:p>
            <a:fld id="{978044AF-CED4-0041-B851-6374C8DF4BD0}" type="datetimeFigureOut">
              <a:rPr lang="en-FI" smtClean="0"/>
              <a:t>09/09/2022</a:t>
            </a:fld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37924031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F2257FCF-37F7-DA4F-BC21-9B800089E636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408197" y="5942440"/>
            <a:ext cx="11375606" cy="564433"/>
          </a:xfr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536616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columns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Hexagon 12">
            <a:extLst>
              <a:ext uri="{FF2B5EF4-FFF2-40B4-BE49-F238E27FC236}">
                <a16:creationId xmlns:a16="http://schemas.microsoft.com/office/drawing/2014/main" id="{C3786A69-5217-0F4B-AE07-C9EA20DBCA21}"/>
              </a:ext>
            </a:extLst>
          </p:cNvPr>
          <p:cNvSpPr/>
          <p:nvPr userDrawn="1"/>
        </p:nvSpPr>
        <p:spPr>
          <a:xfrm>
            <a:off x="-1350" y="-3364"/>
            <a:ext cx="4575076" cy="965398"/>
          </a:xfrm>
          <a:custGeom>
            <a:avLst/>
            <a:gdLst>
              <a:gd name="connsiteX0" fmla="*/ 0 w 9777166"/>
              <a:gd name="connsiteY0" fmla="*/ 4214296 h 8428591"/>
              <a:gd name="connsiteX1" fmla="*/ 2107148 w 9777166"/>
              <a:gd name="connsiteY1" fmla="*/ 2 h 8428591"/>
              <a:gd name="connsiteX2" fmla="*/ 7670018 w 9777166"/>
              <a:gd name="connsiteY2" fmla="*/ 2 h 8428591"/>
              <a:gd name="connsiteX3" fmla="*/ 9777166 w 9777166"/>
              <a:gd name="connsiteY3" fmla="*/ 4214296 h 8428591"/>
              <a:gd name="connsiteX4" fmla="*/ 7670018 w 9777166"/>
              <a:gd name="connsiteY4" fmla="*/ 8428589 h 8428591"/>
              <a:gd name="connsiteX5" fmla="*/ 2107148 w 9777166"/>
              <a:gd name="connsiteY5" fmla="*/ 8428589 h 8428591"/>
              <a:gd name="connsiteX6" fmla="*/ 0 w 9777166"/>
              <a:gd name="connsiteY6" fmla="*/ 4214296 h 8428591"/>
              <a:gd name="connsiteX0" fmla="*/ 0 w 8368990"/>
              <a:gd name="connsiteY0" fmla="*/ 4214294 h 8428587"/>
              <a:gd name="connsiteX1" fmla="*/ 2107148 w 8368990"/>
              <a:gd name="connsiteY1" fmla="*/ 0 h 8428587"/>
              <a:gd name="connsiteX2" fmla="*/ 7670018 w 8368990"/>
              <a:gd name="connsiteY2" fmla="*/ 0 h 8428587"/>
              <a:gd name="connsiteX3" fmla="*/ 8368990 w 8368990"/>
              <a:gd name="connsiteY3" fmla="*/ 7039790 h 8428587"/>
              <a:gd name="connsiteX4" fmla="*/ 7670018 w 8368990"/>
              <a:gd name="connsiteY4" fmla="*/ 8428587 h 8428587"/>
              <a:gd name="connsiteX5" fmla="*/ 2107148 w 8368990"/>
              <a:gd name="connsiteY5" fmla="*/ 8428587 h 8428587"/>
              <a:gd name="connsiteX6" fmla="*/ 0 w 8368990"/>
              <a:gd name="connsiteY6" fmla="*/ 4214294 h 8428587"/>
              <a:gd name="connsiteX0" fmla="*/ 1321852 w 6261842"/>
              <a:gd name="connsiteY0" fmla="*/ 7524422 h 8428587"/>
              <a:gd name="connsiteX1" fmla="*/ 0 w 6261842"/>
              <a:gd name="connsiteY1" fmla="*/ 0 h 8428587"/>
              <a:gd name="connsiteX2" fmla="*/ 5562870 w 6261842"/>
              <a:gd name="connsiteY2" fmla="*/ 0 h 8428587"/>
              <a:gd name="connsiteX3" fmla="*/ 6261842 w 6261842"/>
              <a:gd name="connsiteY3" fmla="*/ 7039790 h 8428587"/>
              <a:gd name="connsiteX4" fmla="*/ 5562870 w 6261842"/>
              <a:gd name="connsiteY4" fmla="*/ 8428587 h 8428587"/>
              <a:gd name="connsiteX5" fmla="*/ 0 w 6261842"/>
              <a:gd name="connsiteY5" fmla="*/ 8428587 h 8428587"/>
              <a:gd name="connsiteX6" fmla="*/ 1321852 w 6261842"/>
              <a:gd name="connsiteY6" fmla="*/ 7524422 h 8428587"/>
              <a:gd name="connsiteX0" fmla="*/ 1321852 w 6261842"/>
              <a:gd name="connsiteY0" fmla="*/ 7524422 h 8428587"/>
              <a:gd name="connsiteX1" fmla="*/ 0 w 6261842"/>
              <a:gd name="connsiteY1" fmla="*/ 0 h 8428587"/>
              <a:gd name="connsiteX2" fmla="*/ 5562870 w 6261842"/>
              <a:gd name="connsiteY2" fmla="*/ 0 h 8428587"/>
              <a:gd name="connsiteX3" fmla="*/ 6261842 w 6261842"/>
              <a:gd name="connsiteY3" fmla="*/ 7039790 h 8428587"/>
              <a:gd name="connsiteX4" fmla="*/ 5562870 w 6261842"/>
              <a:gd name="connsiteY4" fmla="*/ 8428587 h 8428587"/>
              <a:gd name="connsiteX5" fmla="*/ 1316736 w 6261842"/>
              <a:gd name="connsiteY5" fmla="*/ 8428587 h 8428587"/>
              <a:gd name="connsiteX6" fmla="*/ 1321852 w 6261842"/>
              <a:gd name="connsiteY6" fmla="*/ 7524422 h 8428587"/>
              <a:gd name="connsiteX0" fmla="*/ 5116 w 4945106"/>
              <a:gd name="connsiteY0" fmla="*/ 7524422 h 8428587"/>
              <a:gd name="connsiteX1" fmla="*/ 4246134 w 4945106"/>
              <a:gd name="connsiteY1" fmla="*/ 0 h 8428587"/>
              <a:gd name="connsiteX2" fmla="*/ 4945106 w 4945106"/>
              <a:gd name="connsiteY2" fmla="*/ 7039790 h 8428587"/>
              <a:gd name="connsiteX3" fmla="*/ 4246134 w 4945106"/>
              <a:gd name="connsiteY3" fmla="*/ 8428587 h 8428587"/>
              <a:gd name="connsiteX4" fmla="*/ 0 w 4945106"/>
              <a:gd name="connsiteY4" fmla="*/ 8428587 h 8428587"/>
              <a:gd name="connsiteX5" fmla="*/ 5116 w 4945106"/>
              <a:gd name="connsiteY5" fmla="*/ 7524422 h 8428587"/>
              <a:gd name="connsiteX0" fmla="*/ 5116 w 4945106"/>
              <a:gd name="connsiteY0" fmla="*/ 484632 h 1388797"/>
              <a:gd name="connsiteX1" fmla="*/ 4945106 w 4945106"/>
              <a:gd name="connsiteY1" fmla="*/ 0 h 1388797"/>
              <a:gd name="connsiteX2" fmla="*/ 4246134 w 4945106"/>
              <a:gd name="connsiteY2" fmla="*/ 1388797 h 1388797"/>
              <a:gd name="connsiteX3" fmla="*/ 0 w 4945106"/>
              <a:gd name="connsiteY3" fmla="*/ 1388797 h 1388797"/>
              <a:gd name="connsiteX4" fmla="*/ 5116 w 4945106"/>
              <a:gd name="connsiteY4" fmla="*/ 484632 h 1388797"/>
              <a:gd name="connsiteX0" fmla="*/ 5116 w 4731627"/>
              <a:gd name="connsiteY0" fmla="*/ 61233 h 965398"/>
              <a:gd name="connsiteX1" fmla="*/ 4731627 w 4731627"/>
              <a:gd name="connsiteY1" fmla="*/ 0 h 965398"/>
              <a:gd name="connsiteX2" fmla="*/ 4246134 w 4731627"/>
              <a:gd name="connsiteY2" fmla="*/ 965398 h 965398"/>
              <a:gd name="connsiteX3" fmla="*/ 0 w 4731627"/>
              <a:gd name="connsiteY3" fmla="*/ 965398 h 965398"/>
              <a:gd name="connsiteX4" fmla="*/ 5116 w 4731627"/>
              <a:gd name="connsiteY4" fmla="*/ 61233 h 965398"/>
              <a:gd name="connsiteX0" fmla="*/ 150993 w 4731627"/>
              <a:gd name="connsiteY0" fmla="*/ 747 h 965398"/>
              <a:gd name="connsiteX1" fmla="*/ 4731627 w 4731627"/>
              <a:gd name="connsiteY1" fmla="*/ 0 h 965398"/>
              <a:gd name="connsiteX2" fmla="*/ 4246134 w 4731627"/>
              <a:gd name="connsiteY2" fmla="*/ 965398 h 965398"/>
              <a:gd name="connsiteX3" fmla="*/ 0 w 4731627"/>
              <a:gd name="connsiteY3" fmla="*/ 965398 h 965398"/>
              <a:gd name="connsiteX4" fmla="*/ 150993 w 4731627"/>
              <a:gd name="connsiteY4" fmla="*/ 747 h 965398"/>
              <a:gd name="connsiteX0" fmla="*/ 217 w 4580851"/>
              <a:gd name="connsiteY0" fmla="*/ 747 h 965398"/>
              <a:gd name="connsiteX1" fmla="*/ 4580851 w 4580851"/>
              <a:gd name="connsiteY1" fmla="*/ 0 h 965398"/>
              <a:gd name="connsiteX2" fmla="*/ 4095358 w 4580851"/>
              <a:gd name="connsiteY2" fmla="*/ 965398 h 965398"/>
              <a:gd name="connsiteX3" fmla="*/ 5775 w 4580851"/>
              <a:gd name="connsiteY3" fmla="*/ 965398 h 965398"/>
              <a:gd name="connsiteX4" fmla="*/ 217 w 4580851"/>
              <a:gd name="connsiteY4" fmla="*/ 747 h 965398"/>
              <a:gd name="connsiteX0" fmla="*/ 217 w 4580851"/>
              <a:gd name="connsiteY0" fmla="*/ 0 h 968209"/>
              <a:gd name="connsiteX1" fmla="*/ 4580851 w 4580851"/>
              <a:gd name="connsiteY1" fmla="*/ 2811 h 968209"/>
              <a:gd name="connsiteX2" fmla="*/ 4095358 w 4580851"/>
              <a:gd name="connsiteY2" fmla="*/ 968209 h 968209"/>
              <a:gd name="connsiteX3" fmla="*/ 5775 w 4580851"/>
              <a:gd name="connsiteY3" fmla="*/ 968209 h 968209"/>
              <a:gd name="connsiteX4" fmla="*/ 217 w 4580851"/>
              <a:gd name="connsiteY4" fmla="*/ 0 h 968209"/>
              <a:gd name="connsiteX0" fmla="*/ 792 w 4575076"/>
              <a:gd name="connsiteY0" fmla="*/ 364 h 965398"/>
              <a:gd name="connsiteX1" fmla="*/ 4575076 w 4575076"/>
              <a:gd name="connsiteY1" fmla="*/ 0 h 965398"/>
              <a:gd name="connsiteX2" fmla="*/ 4089583 w 4575076"/>
              <a:gd name="connsiteY2" fmla="*/ 965398 h 965398"/>
              <a:gd name="connsiteX3" fmla="*/ 0 w 4575076"/>
              <a:gd name="connsiteY3" fmla="*/ 965398 h 965398"/>
              <a:gd name="connsiteX4" fmla="*/ 792 w 4575076"/>
              <a:gd name="connsiteY4" fmla="*/ 364 h 965398"/>
              <a:gd name="connsiteX0" fmla="*/ 317 w 4577776"/>
              <a:gd name="connsiteY0" fmla="*/ 364 h 965398"/>
              <a:gd name="connsiteX1" fmla="*/ 4577776 w 4577776"/>
              <a:gd name="connsiteY1" fmla="*/ 0 h 965398"/>
              <a:gd name="connsiteX2" fmla="*/ 4092283 w 4577776"/>
              <a:gd name="connsiteY2" fmla="*/ 965398 h 965398"/>
              <a:gd name="connsiteX3" fmla="*/ 2700 w 4577776"/>
              <a:gd name="connsiteY3" fmla="*/ 965398 h 965398"/>
              <a:gd name="connsiteX4" fmla="*/ 317 w 4577776"/>
              <a:gd name="connsiteY4" fmla="*/ 364 h 965398"/>
              <a:gd name="connsiteX0" fmla="*/ 792 w 4575076"/>
              <a:gd name="connsiteY0" fmla="*/ 3539 h 965398"/>
              <a:gd name="connsiteX1" fmla="*/ 4575076 w 4575076"/>
              <a:gd name="connsiteY1" fmla="*/ 0 h 965398"/>
              <a:gd name="connsiteX2" fmla="*/ 4089583 w 4575076"/>
              <a:gd name="connsiteY2" fmla="*/ 965398 h 965398"/>
              <a:gd name="connsiteX3" fmla="*/ 0 w 4575076"/>
              <a:gd name="connsiteY3" fmla="*/ 965398 h 965398"/>
              <a:gd name="connsiteX4" fmla="*/ 792 w 4575076"/>
              <a:gd name="connsiteY4" fmla="*/ 3539 h 965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75076" h="965398">
                <a:moveTo>
                  <a:pt x="792" y="3539"/>
                </a:moveTo>
                <a:lnTo>
                  <a:pt x="4575076" y="0"/>
                </a:lnTo>
                <a:lnTo>
                  <a:pt x="4089583" y="965398"/>
                </a:lnTo>
                <a:lnTo>
                  <a:pt x="0" y="965398"/>
                </a:lnTo>
                <a:cubicBezTo>
                  <a:pt x="1705" y="664010"/>
                  <a:pt x="-913" y="304927"/>
                  <a:pt x="792" y="3539"/>
                </a:cubicBezTo>
                <a:close/>
              </a:path>
            </a:pathLst>
          </a:custGeom>
          <a:solidFill>
            <a:srgbClr val="006AB6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CEF89CD-3698-0E40-8FF4-F3FE4A729C39}"/>
              </a:ext>
            </a:extLst>
          </p:cNvPr>
          <p:cNvSpPr/>
          <p:nvPr userDrawn="1"/>
        </p:nvSpPr>
        <p:spPr>
          <a:xfrm>
            <a:off x="0" y="2855645"/>
            <a:ext cx="12191999" cy="1146710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 strike="sngStrik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717924-3210-724E-B87A-5331F1DB52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512" y="1"/>
            <a:ext cx="10247273" cy="961172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B0E36-3071-A44F-BACC-D883AC3D6C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9515" y="4978875"/>
            <a:ext cx="3547398" cy="1473879"/>
          </a:xfrm>
        </p:spPr>
        <p:txBody>
          <a:bodyPr anchor="t">
            <a:noAutofit/>
          </a:bodyPr>
          <a:lstStyle>
            <a:lvl1pPr marL="0" indent="0" algn="ctr"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F6B1AF5-2863-0747-BC72-FDD194AB0E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332813" y="4984820"/>
            <a:ext cx="3547397" cy="1466190"/>
          </a:xfrm>
        </p:spPr>
        <p:txBody>
          <a:bodyPr anchor="t">
            <a:noAutofit/>
          </a:bodyPr>
          <a:lstStyle>
            <a:lvl1pPr marL="0" indent="0" algn="ctr"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B8FB91F-9A75-7040-9914-398E04E76BA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-13071763" y="6254040"/>
            <a:ext cx="2743200" cy="365125"/>
          </a:xfrm>
        </p:spPr>
        <p:txBody>
          <a:bodyPr/>
          <a:lstStyle/>
          <a:p>
            <a:fld id="{978044AF-CED4-0041-B851-6374C8DF4BD0}" type="datetimeFigureOut">
              <a:rPr lang="en-FI" smtClean="0"/>
              <a:t>09/09/2022</a:t>
            </a:fld>
            <a:endParaRPr lang="en-FI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690A24A-8216-6847-943A-02A124A99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5299363" y="6254040"/>
            <a:ext cx="2743200" cy="365125"/>
          </a:xfrm>
        </p:spPr>
        <p:txBody>
          <a:bodyPr/>
          <a:lstStyle/>
          <a:p>
            <a:endParaRPr lang="en-FI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610B09C2-05AD-414D-8E2F-C136291D20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86110" y="4994121"/>
            <a:ext cx="3558891" cy="1454190"/>
          </a:xfrm>
        </p:spPr>
        <p:txBody>
          <a:bodyPr anchor="t">
            <a:noAutofit/>
          </a:bodyPr>
          <a:lstStyle>
            <a:lvl1pPr marL="0" indent="0" algn="ctr"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3F5162E4-CD52-D84D-BE5C-0084F153796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68024" y="1448415"/>
            <a:ext cx="3558889" cy="3249613"/>
          </a:xfrm>
        </p:spPr>
        <p:txBody>
          <a:bodyPr/>
          <a:lstStyle/>
          <a:p>
            <a:endParaRPr lang="en-FI"/>
          </a:p>
        </p:txBody>
      </p:sp>
      <p:sp>
        <p:nvSpPr>
          <p:cNvPr id="22" name="Picture Placeholder 20">
            <a:extLst>
              <a:ext uri="{FF2B5EF4-FFF2-40B4-BE49-F238E27FC236}">
                <a16:creationId xmlns:a16="http://schemas.microsoft.com/office/drawing/2014/main" id="{ADC51BF5-724D-8B4E-9C02-35D3FC63DBD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32814" y="1442447"/>
            <a:ext cx="3547397" cy="3249613"/>
          </a:xfrm>
        </p:spPr>
        <p:txBody>
          <a:bodyPr/>
          <a:lstStyle/>
          <a:p>
            <a:endParaRPr lang="en-FI"/>
          </a:p>
        </p:txBody>
      </p:sp>
      <p:sp>
        <p:nvSpPr>
          <p:cNvPr id="23" name="Picture Placeholder 20">
            <a:extLst>
              <a:ext uri="{FF2B5EF4-FFF2-40B4-BE49-F238E27FC236}">
                <a16:creationId xmlns:a16="http://schemas.microsoft.com/office/drawing/2014/main" id="{12E0C849-D454-E644-9E93-B69489E78C4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86112" y="1442446"/>
            <a:ext cx="3537864" cy="3249613"/>
          </a:xfrm>
        </p:spPr>
        <p:txBody>
          <a:bodyPr/>
          <a:lstStyle/>
          <a:p>
            <a:endParaRPr lang="en-FI"/>
          </a:p>
        </p:txBody>
      </p:sp>
      <p:pic>
        <p:nvPicPr>
          <p:cNvPr id="18" name="Picture 17" descr="A close up of a sign&#10;&#10;Description automatically generated">
            <a:extLst>
              <a:ext uri="{FF2B5EF4-FFF2-40B4-BE49-F238E27FC236}">
                <a16:creationId xmlns:a16="http://schemas.microsoft.com/office/drawing/2014/main" id="{4EB405F6-847B-9D4E-A392-17693DCD54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26750" y="107806"/>
            <a:ext cx="1054100" cy="741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16329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columns -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Hexagon 12">
            <a:extLst>
              <a:ext uri="{FF2B5EF4-FFF2-40B4-BE49-F238E27FC236}">
                <a16:creationId xmlns:a16="http://schemas.microsoft.com/office/drawing/2014/main" id="{99C6C5AE-4913-F848-84A1-4DEB790BD111}"/>
              </a:ext>
            </a:extLst>
          </p:cNvPr>
          <p:cNvSpPr/>
          <p:nvPr userDrawn="1"/>
        </p:nvSpPr>
        <p:spPr>
          <a:xfrm>
            <a:off x="-1350" y="-3364"/>
            <a:ext cx="4575076" cy="965398"/>
          </a:xfrm>
          <a:custGeom>
            <a:avLst/>
            <a:gdLst>
              <a:gd name="connsiteX0" fmla="*/ 0 w 9777166"/>
              <a:gd name="connsiteY0" fmla="*/ 4214296 h 8428591"/>
              <a:gd name="connsiteX1" fmla="*/ 2107148 w 9777166"/>
              <a:gd name="connsiteY1" fmla="*/ 2 h 8428591"/>
              <a:gd name="connsiteX2" fmla="*/ 7670018 w 9777166"/>
              <a:gd name="connsiteY2" fmla="*/ 2 h 8428591"/>
              <a:gd name="connsiteX3" fmla="*/ 9777166 w 9777166"/>
              <a:gd name="connsiteY3" fmla="*/ 4214296 h 8428591"/>
              <a:gd name="connsiteX4" fmla="*/ 7670018 w 9777166"/>
              <a:gd name="connsiteY4" fmla="*/ 8428589 h 8428591"/>
              <a:gd name="connsiteX5" fmla="*/ 2107148 w 9777166"/>
              <a:gd name="connsiteY5" fmla="*/ 8428589 h 8428591"/>
              <a:gd name="connsiteX6" fmla="*/ 0 w 9777166"/>
              <a:gd name="connsiteY6" fmla="*/ 4214296 h 8428591"/>
              <a:gd name="connsiteX0" fmla="*/ 0 w 8368990"/>
              <a:gd name="connsiteY0" fmla="*/ 4214294 h 8428587"/>
              <a:gd name="connsiteX1" fmla="*/ 2107148 w 8368990"/>
              <a:gd name="connsiteY1" fmla="*/ 0 h 8428587"/>
              <a:gd name="connsiteX2" fmla="*/ 7670018 w 8368990"/>
              <a:gd name="connsiteY2" fmla="*/ 0 h 8428587"/>
              <a:gd name="connsiteX3" fmla="*/ 8368990 w 8368990"/>
              <a:gd name="connsiteY3" fmla="*/ 7039790 h 8428587"/>
              <a:gd name="connsiteX4" fmla="*/ 7670018 w 8368990"/>
              <a:gd name="connsiteY4" fmla="*/ 8428587 h 8428587"/>
              <a:gd name="connsiteX5" fmla="*/ 2107148 w 8368990"/>
              <a:gd name="connsiteY5" fmla="*/ 8428587 h 8428587"/>
              <a:gd name="connsiteX6" fmla="*/ 0 w 8368990"/>
              <a:gd name="connsiteY6" fmla="*/ 4214294 h 8428587"/>
              <a:gd name="connsiteX0" fmla="*/ 1321852 w 6261842"/>
              <a:gd name="connsiteY0" fmla="*/ 7524422 h 8428587"/>
              <a:gd name="connsiteX1" fmla="*/ 0 w 6261842"/>
              <a:gd name="connsiteY1" fmla="*/ 0 h 8428587"/>
              <a:gd name="connsiteX2" fmla="*/ 5562870 w 6261842"/>
              <a:gd name="connsiteY2" fmla="*/ 0 h 8428587"/>
              <a:gd name="connsiteX3" fmla="*/ 6261842 w 6261842"/>
              <a:gd name="connsiteY3" fmla="*/ 7039790 h 8428587"/>
              <a:gd name="connsiteX4" fmla="*/ 5562870 w 6261842"/>
              <a:gd name="connsiteY4" fmla="*/ 8428587 h 8428587"/>
              <a:gd name="connsiteX5" fmla="*/ 0 w 6261842"/>
              <a:gd name="connsiteY5" fmla="*/ 8428587 h 8428587"/>
              <a:gd name="connsiteX6" fmla="*/ 1321852 w 6261842"/>
              <a:gd name="connsiteY6" fmla="*/ 7524422 h 8428587"/>
              <a:gd name="connsiteX0" fmla="*/ 1321852 w 6261842"/>
              <a:gd name="connsiteY0" fmla="*/ 7524422 h 8428587"/>
              <a:gd name="connsiteX1" fmla="*/ 0 w 6261842"/>
              <a:gd name="connsiteY1" fmla="*/ 0 h 8428587"/>
              <a:gd name="connsiteX2" fmla="*/ 5562870 w 6261842"/>
              <a:gd name="connsiteY2" fmla="*/ 0 h 8428587"/>
              <a:gd name="connsiteX3" fmla="*/ 6261842 w 6261842"/>
              <a:gd name="connsiteY3" fmla="*/ 7039790 h 8428587"/>
              <a:gd name="connsiteX4" fmla="*/ 5562870 w 6261842"/>
              <a:gd name="connsiteY4" fmla="*/ 8428587 h 8428587"/>
              <a:gd name="connsiteX5" fmla="*/ 1316736 w 6261842"/>
              <a:gd name="connsiteY5" fmla="*/ 8428587 h 8428587"/>
              <a:gd name="connsiteX6" fmla="*/ 1321852 w 6261842"/>
              <a:gd name="connsiteY6" fmla="*/ 7524422 h 8428587"/>
              <a:gd name="connsiteX0" fmla="*/ 5116 w 4945106"/>
              <a:gd name="connsiteY0" fmla="*/ 7524422 h 8428587"/>
              <a:gd name="connsiteX1" fmla="*/ 4246134 w 4945106"/>
              <a:gd name="connsiteY1" fmla="*/ 0 h 8428587"/>
              <a:gd name="connsiteX2" fmla="*/ 4945106 w 4945106"/>
              <a:gd name="connsiteY2" fmla="*/ 7039790 h 8428587"/>
              <a:gd name="connsiteX3" fmla="*/ 4246134 w 4945106"/>
              <a:gd name="connsiteY3" fmla="*/ 8428587 h 8428587"/>
              <a:gd name="connsiteX4" fmla="*/ 0 w 4945106"/>
              <a:gd name="connsiteY4" fmla="*/ 8428587 h 8428587"/>
              <a:gd name="connsiteX5" fmla="*/ 5116 w 4945106"/>
              <a:gd name="connsiteY5" fmla="*/ 7524422 h 8428587"/>
              <a:gd name="connsiteX0" fmla="*/ 5116 w 4945106"/>
              <a:gd name="connsiteY0" fmla="*/ 484632 h 1388797"/>
              <a:gd name="connsiteX1" fmla="*/ 4945106 w 4945106"/>
              <a:gd name="connsiteY1" fmla="*/ 0 h 1388797"/>
              <a:gd name="connsiteX2" fmla="*/ 4246134 w 4945106"/>
              <a:gd name="connsiteY2" fmla="*/ 1388797 h 1388797"/>
              <a:gd name="connsiteX3" fmla="*/ 0 w 4945106"/>
              <a:gd name="connsiteY3" fmla="*/ 1388797 h 1388797"/>
              <a:gd name="connsiteX4" fmla="*/ 5116 w 4945106"/>
              <a:gd name="connsiteY4" fmla="*/ 484632 h 1388797"/>
              <a:gd name="connsiteX0" fmla="*/ 5116 w 4731627"/>
              <a:gd name="connsiteY0" fmla="*/ 61233 h 965398"/>
              <a:gd name="connsiteX1" fmla="*/ 4731627 w 4731627"/>
              <a:gd name="connsiteY1" fmla="*/ 0 h 965398"/>
              <a:gd name="connsiteX2" fmla="*/ 4246134 w 4731627"/>
              <a:gd name="connsiteY2" fmla="*/ 965398 h 965398"/>
              <a:gd name="connsiteX3" fmla="*/ 0 w 4731627"/>
              <a:gd name="connsiteY3" fmla="*/ 965398 h 965398"/>
              <a:gd name="connsiteX4" fmla="*/ 5116 w 4731627"/>
              <a:gd name="connsiteY4" fmla="*/ 61233 h 965398"/>
              <a:gd name="connsiteX0" fmla="*/ 150993 w 4731627"/>
              <a:gd name="connsiteY0" fmla="*/ 747 h 965398"/>
              <a:gd name="connsiteX1" fmla="*/ 4731627 w 4731627"/>
              <a:gd name="connsiteY1" fmla="*/ 0 h 965398"/>
              <a:gd name="connsiteX2" fmla="*/ 4246134 w 4731627"/>
              <a:gd name="connsiteY2" fmla="*/ 965398 h 965398"/>
              <a:gd name="connsiteX3" fmla="*/ 0 w 4731627"/>
              <a:gd name="connsiteY3" fmla="*/ 965398 h 965398"/>
              <a:gd name="connsiteX4" fmla="*/ 150993 w 4731627"/>
              <a:gd name="connsiteY4" fmla="*/ 747 h 965398"/>
              <a:gd name="connsiteX0" fmla="*/ 217 w 4580851"/>
              <a:gd name="connsiteY0" fmla="*/ 747 h 965398"/>
              <a:gd name="connsiteX1" fmla="*/ 4580851 w 4580851"/>
              <a:gd name="connsiteY1" fmla="*/ 0 h 965398"/>
              <a:gd name="connsiteX2" fmla="*/ 4095358 w 4580851"/>
              <a:gd name="connsiteY2" fmla="*/ 965398 h 965398"/>
              <a:gd name="connsiteX3" fmla="*/ 5775 w 4580851"/>
              <a:gd name="connsiteY3" fmla="*/ 965398 h 965398"/>
              <a:gd name="connsiteX4" fmla="*/ 217 w 4580851"/>
              <a:gd name="connsiteY4" fmla="*/ 747 h 965398"/>
              <a:gd name="connsiteX0" fmla="*/ 217 w 4580851"/>
              <a:gd name="connsiteY0" fmla="*/ 0 h 968209"/>
              <a:gd name="connsiteX1" fmla="*/ 4580851 w 4580851"/>
              <a:gd name="connsiteY1" fmla="*/ 2811 h 968209"/>
              <a:gd name="connsiteX2" fmla="*/ 4095358 w 4580851"/>
              <a:gd name="connsiteY2" fmla="*/ 968209 h 968209"/>
              <a:gd name="connsiteX3" fmla="*/ 5775 w 4580851"/>
              <a:gd name="connsiteY3" fmla="*/ 968209 h 968209"/>
              <a:gd name="connsiteX4" fmla="*/ 217 w 4580851"/>
              <a:gd name="connsiteY4" fmla="*/ 0 h 968209"/>
              <a:gd name="connsiteX0" fmla="*/ 792 w 4575076"/>
              <a:gd name="connsiteY0" fmla="*/ 364 h 965398"/>
              <a:gd name="connsiteX1" fmla="*/ 4575076 w 4575076"/>
              <a:gd name="connsiteY1" fmla="*/ 0 h 965398"/>
              <a:gd name="connsiteX2" fmla="*/ 4089583 w 4575076"/>
              <a:gd name="connsiteY2" fmla="*/ 965398 h 965398"/>
              <a:gd name="connsiteX3" fmla="*/ 0 w 4575076"/>
              <a:gd name="connsiteY3" fmla="*/ 965398 h 965398"/>
              <a:gd name="connsiteX4" fmla="*/ 792 w 4575076"/>
              <a:gd name="connsiteY4" fmla="*/ 364 h 965398"/>
              <a:gd name="connsiteX0" fmla="*/ 317 w 4577776"/>
              <a:gd name="connsiteY0" fmla="*/ 364 h 965398"/>
              <a:gd name="connsiteX1" fmla="*/ 4577776 w 4577776"/>
              <a:gd name="connsiteY1" fmla="*/ 0 h 965398"/>
              <a:gd name="connsiteX2" fmla="*/ 4092283 w 4577776"/>
              <a:gd name="connsiteY2" fmla="*/ 965398 h 965398"/>
              <a:gd name="connsiteX3" fmla="*/ 2700 w 4577776"/>
              <a:gd name="connsiteY3" fmla="*/ 965398 h 965398"/>
              <a:gd name="connsiteX4" fmla="*/ 317 w 4577776"/>
              <a:gd name="connsiteY4" fmla="*/ 364 h 965398"/>
              <a:gd name="connsiteX0" fmla="*/ 792 w 4575076"/>
              <a:gd name="connsiteY0" fmla="*/ 3539 h 965398"/>
              <a:gd name="connsiteX1" fmla="*/ 4575076 w 4575076"/>
              <a:gd name="connsiteY1" fmla="*/ 0 h 965398"/>
              <a:gd name="connsiteX2" fmla="*/ 4089583 w 4575076"/>
              <a:gd name="connsiteY2" fmla="*/ 965398 h 965398"/>
              <a:gd name="connsiteX3" fmla="*/ 0 w 4575076"/>
              <a:gd name="connsiteY3" fmla="*/ 965398 h 965398"/>
              <a:gd name="connsiteX4" fmla="*/ 792 w 4575076"/>
              <a:gd name="connsiteY4" fmla="*/ 3539 h 965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75076" h="965398">
                <a:moveTo>
                  <a:pt x="792" y="3539"/>
                </a:moveTo>
                <a:lnTo>
                  <a:pt x="4575076" y="0"/>
                </a:lnTo>
                <a:lnTo>
                  <a:pt x="4089583" y="965398"/>
                </a:lnTo>
                <a:lnTo>
                  <a:pt x="0" y="965398"/>
                </a:lnTo>
                <a:cubicBezTo>
                  <a:pt x="1705" y="664010"/>
                  <a:pt x="-913" y="304927"/>
                  <a:pt x="792" y="3539"/>
                </a:cubicBezTo>
                <a:close/>
              </a:path>
            </a:pathLst>
          </a:custGeom>
          <a:solidFill>
            <a:srgbClr val="006AB6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CEF89CD-3698-0E40-8FF4-F3FE4A729C39}"/>
              </a:ext>
            </a:extLst>
          </p:cNvPr>
          <p:cNvSpPr/>
          <p:nvPr userDrawn="1"/>
        </p:nvSpPr>
        <p:spPr>
          <a:xfrm>
            <a:off x="0" y="2855645"/>
            <a:ext cx="12191999" cy="1146710"/>
          </a:xfrm>
          <a:prstGeom prst="rect">
            <a:avLst/>
          </a:prstGeom>
          <a:solidFill>
            <a:srgbClr val="006AB6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 strike="sngStrik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717924-3210-724E-B87A-5331F1DB52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512" y="1"/>
            <a:ext cx="10247273" cy="961172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B0E36-3071-A44F-BACC-D883AC3D6C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9515" y="4978875"/>
            <a:ext cx="3547398" cy="1473879"/>
          </a:xfrm>
        </p:spPr>
        <p:txBody>
          <a:bodyPr anchor="t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F6B1AF5-2863-0747-BC72-FDD194AB0E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332813" y="4984820"/>
            <a:ext cx="3547397" cy="1466190"/>
          </a:xfrm>
        </p:spPr>
        <p:txBody>
          <a:bodyPr anchor="t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B8FB91F-9A75-7040-9914-398E04E76BA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-13071763" y="6254040"/>
            <a:ext cx="2743200" cy="365125"/>
          </a:xfrm>
        </p:spPr>
        <p:txBody>
          <a:bodyPr/>
          <a:lstStyle/>
          <a:p>
            <a:fld id="{978044AF-CED4-0041-B851-6374C8DF4BD0}" type="datetimeFigureOut">
              <a:rPr lang="en-FI" smtClean="0"/>
              <a:t>09/09/2022</a:t>
            </a:fld>
            <a:endParaRPr lang="en-FI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610B09C2-05AD-414D-8E2F-C136291D20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86110" y="4994121"/>
            <a:ext cx="3558891" cy="1454190"/>
          </a:xfrm>
        </p:spPr>
        <p:txBody>
          <a:bodyPr anchor="t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3F5162E4-CD52-D84D-BE5C-0084F153796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68024" y="1448415"/>
            <a:ext cx="3558889" cy="32496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FI"/>
          </a:p>
        </p:txBody>
      </p:sp>
      <p:sp>
        <p:nvSpPr>
          <p:cNvPr id="22" name="Picture Placeholder 20">
            <a:extLst>
              <a:ext uri="{FF2B5EF4-FFF2-40B4-BE49-F238E27FC236}">
                <a16:creationId xmlns:a16="http://schemas.microsoft.com/office/drawing/2014/main" id="{ADC51BF5-724D-8B4E-9C02-35D3FC63DBD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32814" y="1442447"/>
            <a:ext cx="3547397" cy="32496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FI"/>
          </a:p>
        </p:txBody>
      </p:sp>
      <p:sp>
        <p:nvSpPr>
          <p:cNvPr id="23" name="Picture Placeholder 20">
            <a:extLst>
              <a:ext uri="{FF2B5EF4-FFF2-40B4-BE49-F238E27FC236}">
                <a16:creationId xmlns:a16="http://schemas.microsoft.com/office/drawing/2014/main" id="{12E0C849-D454-E644-9E93-B69489E78C4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86112" y="1442446"/>
            <a:ext cx="3537864" cy="32496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FI"/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4186426C-11B9-3D4D-9EAF-E62D7FDF982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30644" y="107806"/>
            <a:ext cx="1054100" cy="741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38057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gradient">
    <p:bg>
      <p:bgPr>
        <a:gradFill>
          <a:gsLst>
            <a:gs pos="0">
              <a:schemeClr val="accent1"/>
            </a:gs>
            <a:gs pos="100000">
              <a:srgbClr val="006AB6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Hexagon 12">
            <a:extLst>
              <a:ext uri="{FF2B5EF4-FFF2-40B4-BE49-F238E27FC236}">
                <a16:creationId xmlns:a16="http://schemas.microsoft.com/office/drawing/2014/main" id="{2C1DD16D-0BD3-334F-9FB6-427B679BCF86}"/>
              </a:ext>
            </a:extLst>
          </p:cNvPr>
          <p:cNvSpPr/>
          <p:nvPr userDrawn="1"/>
        </p:nvSpPr>
        <p:spPr>
          <a:xfrm>
            <a:off x="-1350" y="-3364"/>
            <a:ext cx="4575076" cy="965398"/>
          </a:xfrm>
          <a:custGeom>
            <a:avLst/>
            <a:gdLst>
              <a:gd name="connsiteX0" fmla="*/ 0 w 9777166"/>
              <a:gd name="connsiteY0" fmla="*/ 4214296 h 8428591"/>
              <a:gd name="connsiteX1" fmla="*/ 2107148 w 9777166"/>
              <a:gd name="connsiteY1" fmla="*/ 2 h 8428591"/>
              <a:gd name="connsiteX2" fmla="*/ 7670018 w 9777166"/>
              <a:gd name="connsiteY2" fmla="*/ 2 h 8428591"/>
              <a:gd name="connsiteX3" fmla="*/ 9777166 w 9777166"/>
              <a:gd name="connsiteY3" fmla="*/ 4214296 h 8428591"/>
              <a:gd name="connsiteX4" fmla="*/ 7670018 w 9777166"/>
              <a:gd name="connsiteY4" fmla="*/ 8428589 h 8428591"/>
              <a:gd name="connsiteX5" fmla="*/ 2107148 w 9777166"/>
              <a:gd name="connsiteY5" fmla="*/ 8428589 h 8428591"/>
              <a:gd name="connsiteX6" fmla="*/ 0 w 9777166"/>
              <a:gd name="connsiteY6" fmla="*/ 4214296 h 8428591"/>
              <a:gd name="connsiteX0" fmla="*/ 0 w 8368990"/>
              <a:gd name="connsiteY0" fmla="*/ 4214294 h 8428587"/>
              <a:gd name="connsiteX1" fmla="*/ 2107148 w 8368990"/>
              <a:gd name="connsiteY1" fmla="*/ 0 h 8428587"/>
              <a:gd name="connsiteX2" fmla="*/ 7670018 w 8368990"/>
              <a:gd name="connsiteY2" fmla="*/ 0 h 8428587"/>
              <a:gd name="connsiteX3" fmla="*/ 8368990 w 8368990"/>
              <a:gd name="connsiteY3" fmla="*/ 7039790 h 8428587"/>
              <a:gd name="connsiteX4" fmla="*/ 7670018 w 8368990"/>
              <a:gd name="connsiteY4" fmla="*/ 8428587 h 8428587"/>
              <a:gd name="connsiteX5" fmla="*/ 2107148 w 8368990"/>
              <a:gd name="connsiteY5" fmla="*/ 8428587 h 8428587"/>
              <a:gd name="connsiteX6" fmla="*/ 0 w 8368990"/>
              <a:gd name="connsiteY6" fmla="*/ 4214294 h 8428587"/>
              <a:gd name="connsiteX0" fmla="*/ 1321852 w 6261842"/>
              <a:gd name="connsiteY0" fmla="*/ 7524422 h 8428587"/>
              <a:gd name="connsiteX1" fmla="*/ 0 w 6261842"/>
              <a:gd name="connsiteY1" fmla="*/ 0 h 8428587"/>
              <a:gd name="connsiteX2" fmla="*/ 5562870 w 6261842"/>
              <a:gd name="connsiteY2" fmla="*/ 0 h 8428587"/>
              <a:gd name="connsiteX3" fmla="*/ 6261842 w 6261842"/>
              <a:gd name="connsiteY3" fmla="*/ 7039790 h 8428587"/>
              <a:gd name="connsiteX4" fmla="*/ 5562870 w 6261842"/>
              <a:gd name="connsiteY4" fmla="*/ 8428587 h 8428587"/>
              <a:gd name="connsiteX5" fmla="*/ 0 w 6261842"/>
              <a:gd name="connsiteY5" fmla="*/ 8428587 h 8428587"/>
              <a:gd name="connsiteX6" fmla="*/ 1321852 w 6261842"/>
              <a:gd name="connsiteY6" fmla="*/ 7524422 h 8428587"/>
              <a:gd name="connsiteX0" fmla="*/ 1321852 w 6261842"/>
              <a:gd name="connsiteY0" fmla="*/ 7524422 h 8428587"/>
              <a:gd name="connsiteX1" fmla="*/ 0 w 6261842"/>
              <a:gd name="connsiteY1" fmla="*/ 0 h 8428587"/>
              <a:gd name="connsiteX2" fmla="*/ 5562870 w 6261842"/>
              <a:gd name="connsiteY2" fmla="*/ 0 h 8428587"/>
              <a:gd name="connsiteX3" fmla="*/ 6261842 w 6261842"/>
              <a:gd name="connsiteY3" fmla="*/ 7039790 h 8428587"/>
              <a:gd name="connsiteX4" fmla="*/ 5562870 w 6261842"/>
              <a:gd name="connsiteY4" fmla="*/ 8428587 h 8428587"/>
              <a:gd name="connsiteX5" fmla="*/ 1316736 w 6261842"/>
              <a:gd name="connsiteY5" fmla="*/ 8428587 h 8428587"/>
              <a:gd name="connsiteX6" fmla="*/ 1321852 w 6261842"/>
              <a:gd name="connsiteY6" fmla="*/ 7524422 h 8428587"/>
              <a:gd name="connsiteX0" fmla="*/ 5116 w 4945106"/>
              <a:gd name="connsiteY0" fmla="*/ 7524422 h 8428587"/>
              <a:gd name="connsiteX1" fmla="*/ 4246134 w 4945106"/>
              <a:gd name="connsiteY1" fmla="*/ 0 h 8428587"/>
              <a:gd name="connsiteX2" fmla="*/ 4945106 w 4945106"/>
              <a:gd name="connsiteY2" fmla="*/ 7039790 h 8428587"/>
              <a:gd name="connsiteX3" fmla="*/ 4246134 w 4945106"/>
              <a:gd name="connsiteY3" fmla="*/ 8428587 h 8428587"/>
              <a:gd name="connsiteX4" fmla="*/ 0 w 4945106"/>
              <a:gd name="connsiteY4" fmla="*/ 8428587 h 8428587"/>
              <a:gd name="connsiteX5" fmla="*/ 5116 w 4945106"/>
              <a:gd name="connsiteY5" fmla="*/ 7524422 h 8428587"/>
              <a:gd name="connsiteX0" fmla="*/ 5116 w 4945106"/>
              <a:gd name="connsiteY0" fmla="*/ 484632 h 1388797"/>
              <a:gd name="connsiteX1" fmla="*/ 4945106 w 4945106"/>
              <a:gd name="connsiteY1" fmla="*/ 0 h 1388797"/>
              <a:gd name="connsiteX2" fmla="*/ 4246134 w 4945106"/>
              <a:gd name="connsiteY2" fmla="*/ 1388797 h 1388797"/>
              <a:gd name="connsiteX3" fmla="*/ 0 w 4945106"/>
              <a:gd name="connsiteY3" fmla="*/ 1388797 h 1388797"/>
              <a:gd name="connsiteX4" fmla="*/ 5116 w 4945106"/>
              <a:gd name="connsiteY4" fmla="*/ 484632 h 1388797"/>
              <a:gd name="connsiteX0" fmla="*/ 5116 w 4731627"/>
              <a:gd name="connsiteY0" fmla="*/ 61233 h 965398"/>
              <a:gd name="connsiteX1" fmla="*/ 4731627 w 4731627"/>
              <a:gd name="connsiteY1" fmla="*/ 0 h 965398"/>
              <a:gd name="connsiteX2" fmla="*/ 4246134 w 4731627"/>
              <a:gd name="connsiteY2" fmla="*/ 965398 h 965398"/>
              <a:gd name="connsiteX3" fmla="*/ 0 w 4731627"/>
              <a:gd name="connsiteY3" fmla="*/ 965398 h 965398"/>
              <a:gd name="connsiteX4" fmla="*/ 5116 w 4731627"/>
              <a:gd name="connsiteY4" fmla="*/ 61233 h 965398"/>
              <a:gd name="connsiteX0" fmla="*/ 150993 w 4731627"/>
              <a:gd name="connsiteY0" fmla="*/ 747 h 965398"/>
              <a:gd name="connsiteX1" fmla="*/ 4731627 w 4731627"/>
              <a:gd name="connsiteY1" fmla="*/ 0 h 965398"/>
              <a:gd name="connsiteX2" fmla="*/ 4246134 w 4731627"/>
              <a:gd name="connsiteY2" fmla="*/ 965398 h 965398"/>
              <a:gd name="connsiteX3" fmla="*/ 0 w 4731627"/>
              <a:gd name="connsiteY3" fmla="*/ 965398 h 965398"/>
              <a:gd name="connsiteX4" fmla="*/ 150993 w 4731627"/>
              <a:gd name="connsiteY4" fmla="*/ 747 h 965398"/>
              <a:gd name="connsiteX0" fmla="*/ 217 w 4580851"/>
              <a:gd name="connsiteY0" fmla="*/ 747 h 965398"/>
              <a:gd name="connsiteX1" fmla="*/ 4580851 w 4580851"/>
              <a:gd name="connsiteY1" fmla="*/ 0 h 965398"/>
              <a:gd name="connsiteX2" fmla="*/ 4095358 w 4580851"/>
              <a:gd name="connsiteY2" fmla="*/ 965398 h 965398"/>
              <a:gd name="connsiteX3" fmla="*/ 5775 w 4580851"/>
              <a:gd name="connsiteY3" fmla="*/ 965398 h 965398"/>
              <a:gd name="connsiteX4" fmla="*/ 217 w 4580851"/>
              <a:gd name="connsiteY4" fmla="*/ 747 h 965398"/>
              <a:gd name="connsiteX0" fmla="*/ 217 w 4580851"/>
              <a:gd name="connsiteY0" fmla="*/ 0 h 968209"/>
              <a:gd name="connsiteX1" fmla="*/ 4580851 w 4580851"/>
              <a:gd name="connsiteY1" fmla="*/ 2811 h 968209"/>
              <a:gd name="connsiteX2" fmla="*/ 4095358 w 4580851"/>
              <a:gd name="connsiteY2" fmla="*/ 968209 h 968209"/>
              <a:gd name="connsiteX3" fmla="*/ 5775 w 4580851"/>
              <a:gd name="connsiteY3" fmla="*/ 968209 h 968209"/>
              <a:gd name="connsiteX4" fmla="*/ 217 w 4580851"/>
              <a:gd name="connsiteY4" fmla="*/ 0 h 968209"/>
              <a:gd name="connsiteX0" fmla="*/ 792 w 4575076"/>
              <a:gd name="connsiteY0" fmla="*/ 364 h 965398"/>
              <a:gd name="connsiteX1" fmla="*/ 4575076 w 4575076"/>
              <a:gd name="connsiteY1" fmla="*/ 0 h 965398"/>
              <a:gd name="connsiteX2" fmla="*/ 4089583 w 4575076"/>
              <a:gd name="connsiteY2" fmla="*/ 965398 h 965398"/>
              <a:gd name="connsiteX3" fmla="*/ 0 w 4575076"/>
              <a:gd name="connsiteY3" fmla="*/ 965398 h 965398"/>
              <a:gd name="connsiteX4" fmla="*/ 792 w 4575076"/>
              <a:gd name="connsiteY4" fmla="*/ 364 h 965398"/>
              <a:gd name="connsiteX0" fmla="*/ 317 w 4577776"/>
              <a:gd name="connsiteY0" fmla="*/ 364 h 965398"/>
              <a:gd name="connsiteX1" fmla="*/ 4577776 w 4577776"/>
              <a:gd name="connsiteY1" fmla="*/ 0 h 965398"/>
              <a:gd name="connsiteX2" fmla="*/ 4092283 w 4577776"/>
              <a:gd name="connsiteY2" fmla="*/ 965398 h 965398"/>
              <a:gd name="connsiteX3" fmla="*/ 2700 w 4577776"/>
              <a:gd name="connsiteY3" fmla="*/ 965398 h 965398"/>
              <a:gd name="connsiteX4" fmla="*/ 317 w 4577776"/>
              <a:gd name="connsiteY4" fmla="*/ 364 h 965398"/>
              <a:gd name="connsiteX0" fmla="*/ 792 w 4575076"/>
              <a:gd name="connsiteY0" fmla="*/ 3539 h 965398"/>
              <a:gd name="connsiteX1" fmla="*/ 4575076 w 4575076"/>
              <a:gd name="connsiteY1" fmla="*/ 0 h 965398"/>
              <a:gd name="connsiteX2" fmla="*/ 4089583 w 4575076"/>
              <a:gd name="connsiteY2" fmla="*/ 965398 h 965398"/>
              <a:gd name="connsiteX3" fmla="*/ 0 w 4575076"/>
              <a:gd name="connsiteY3" fmla="*/ 965398 h 965398"/>
              <a:gd name="connsiteX4" fmla="*/ 792 w 4575076"/>
              <a:gd name="connsiteY4" fmla="*/ 3539 h 965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75076" h="965398">
                <a:moveTo>
                  <a:pt x="792" y="3539"/>
                </a:moveTo>
                <a:lnTo>
                  <a:pt x="4575076" y="0"/>
                </a:lnTo>
                <a:lnTo>
                  <a:pt x="4089583" y="965398"/>
                </a:lnTo>
                <a:lnTo>
                  <a:pt x="0" y="965398"/>
                </a:lnTo>
                <a:cubicBezTo>
                  <a:pt x="1705" y="664010"/>
                  <a:pt x="-913" y="304927"/>
                  <a:pt x="792" y="3539"/>
                </a:cubicBezTo>
                <a:close/>
              </a:path>
            </a:pathLst>
          </a:custGeom>
          <a:solidFill>
            <a:srgbClr val="006AB6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D224A6-AE7F-A849-824E-C33BD98256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516" y="0"/>
            <a:ext cx="10247270" cy="957055"/>
          </a:xfrm>
        </p:spPr>
        <p:txBody>
          <a:bodyPr/>
          <a:lstStyle>
            <a:lvl1pPr>
              <a:defRPr b="1"/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CC25ED-55C9-F641-9E94-4A6F05D899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515" y="1074811"/>
            <a:ext cx="11432963" cy="537621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801CBA-0E7F-FD4F-A11F-D390D6EF29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-11547763" y="6254040"/>
            <a:ext cx="2743200" cy="365125"/>
          </a:xfrm>
        </p:spPr>
        <p:txBody>
          <a:bodyPr/>
          <a:lstStyle/>
          <a:p>
            <a:fld id="{978044AF-CED4-0041-B851-6374C8DF4BD0}" type="datetimeFigureOut">
              <a:rPr lang="en-FI" smtClean="0"/>
              <a:t>09/09/2022</a:t>
            </a:fld>
            <a:endParaRPr lang="en-FI"/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82D6A47D-AC65-0740-9782-344FF24BF6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30644" y="107806"/>
            <a:ext cx="1054100" cy="741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9067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columns - gradient">
    <p:bg>
      <p:bgPr>
        <a:gradFill>
          <a:gsLst>
            <a:gs pos="0">
              <a:schemeClr val="accent1"/>
            </a:gs>
            <a:gs pos="100000">
              <a:schemeClr val="accent2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Hexagon 12">
            <a:extLst>
              <a:ext uri="{FF2B5EF4-FFF2-40B4-BE49-F238E27FC236}">
                <a16:creationId xmlns:a16="http://schemas.microsoft.com/office/drawing/2014/main" id="{C567A07C-03E4-D04E-B98B-77EEE4A899A4}"/>
              </a:ext>
            </a:extLst>
          </p:cNvPr>
          <p:cNvSpPr/>
          <p:nvPr userDrawn="1"/>
        </p:nvSpPr>
        <p:spPr>
          <a:xfrm>
            <a:off x="-1350" y="-3364"/>
            <a:ext cx="4575076" cy="965398"/>
          </a:xfrm>
          <a:custGeom>
            <a:avLst/>
            <a:gdLst>
              <a:gd name="connsiteX0" fmla="*/ 0 w 9777166"/>
              <a:gd name="connsiteY0" fmla="*/ 4214296 h 8428591"/>
              <a:gd name="connsiteX1" fmla="*/ 2107148 w 9777166"/>
              <a:gd name="connsiteY1" fmla="*/ 2 h 8428591"/>
              <a:gd name="connsiteX2" fmla="*/ 7670018 w 9777166"/>
              <a:gd name="connsiteY2" fmla="*/ 2 h 8428591"/>
              <a:gd name="connsiteX3" fmla="*/ 9777166 w 9777166"/>
              <a:gd name="connsiteY3" fmla="*/ 4214296 h 8428591"/>
              <a:gd name="connsiteX4" fmla="*/ 7670018 w 9777166"/>
              <a:gd name="connsiteY4" fmla="*/ 8428589 h 8428591"/>
              <a:gd name="connsiteX5" fmla="*/ 2107148 w 9777166"/>
              <a:gd name="connsiteY5" fmla="*/ 8428589 h 8428591"/>
              <a:gd name="connsiteX6" fmla="*/ 0 w 9777166"/>
              <a:gd name="connsiteY6" fmla="*/ 4214296 h 8428591"/>
              <a:gd name="connsiteX0" fmla="*/ 0 w 8368990"/>
              <a:gd name="connsiteY0" fmla="*/ 4214294 h 8428587"/>
              <a:gd name="connsiteX1" fmla="*/ 2107148 w 8368990"/>
              <a:gd name="connsiteY1" fmla="*/ 0 h 8428587"/>
              <a:gd name="connsiteX2" fmla="*/ 7670018 w 8368990"/>
              <a:gd name="connsiteY2" fmla="*/ 0 h 8428587"/>
              <a:gd name="connsiteX3" fmla="*/ 8368990 w 8368990"/>
              <a:gd name="connsiteY3" fmla="*/ 7039790 h 8428587"/>
              <a:gd name="connsiteX4" fmla="*/ 7670018 w 8368990"/>
              <a:gd name="connsiteY4" fmla="*/ 8428587 h 8428587"/>
              <a:gd name="connsiteX5" fmla="*/ 2107148 w 8368990"/>
              <a:gd name="connsiteY5" fmla="*/ 8428587 h 8428587"/>
              <a:gd name="connsiteX6" fmla="*/ 0 w 8368990"/>
              <a:gd name="connsiteY6" fmla="*/ 4214294 h 8428587"/>
              <a:gd name="connsiteX0" fmla="*/ 1321852 w 6261842"/>
              <a:gd name="connsiteY0" fmla="*/ 7524422 h 8428587"/>
              <a:gd name="connsiteX1" fmla="*/ 0 w 6261842"/>
              <a:gd name="connsiteY1" fmla="*/ 0 h 8428587"/>
              <a:gd name="connsiteX2" fmla="*/ 5562870 w 6261842"/>
              <a:gd name="connsiteY2" fmla="*/ 0 h 8428587"/>
              <a:gd name="connsiteX3" fmla="*/ 6261842 w 6261842"/>
              <a:gd name="connsiteY3" fmla="*/ 7039790 h 8428587"/>
              <a:gd name="connsiteX4" fmla="*/ 5562870 w 6261842"/>
              <a:gd name="connsiteY4" fmla="*/ 8428587 h 8428587"/>
              <a:gd name="connsiteX5" fmla="*/ 0 w 6261842"/>
              <a:gd name="connsiteY5" fmla="*/ 8428587 h 8428587"/>
              <a:gd name="connsiteX6" fmla="*/ 1321852 w 6261842"/>
              <a:gd name="connsiteY6" fmla="*/ 7524422 h 8428587"/>
              <a:gd name="connsiteX0" fmla="*/ 1321852 w 6261842"/>
              <a:gd name="connsiteY0" fmla="*/ 7524422 h 8428587"/>
              <a:gd name="connsiteX1" fmla="*/ 0 w 6261842"/>
              <a:gd name="connsiteY1" fmla="*/ 0 h 8428587"/>
              <a:gd name="connsiteX2" fmla="*/ 5562870 w 6261842"/>
              <a:gd name="connsiteY2" fmla="*/ 0 h 8428587"/>
              <a:gd name="connsiteX3" fmla="*/ 6261842 w 6261842"/>
              <a:gd name="connsiteY3" fmla="*/ 7039790 h 8428587"/>
              <a:gd name="connsiteX4" fmla="*/ 5562870 w 6261842"/>
              <a:gd name="connsiteY4" fmla="*/ 8428587 h 8428587"/>
              <a:gd name="connsiteX5" fmla="*/ 1316736 w 6261842"/>
              <a:gd name="connsiteY5" fmla="*/ 8428587 h 8428587"/>
              <a:gd name="connsiteX6" fmla="*/ 1321852 w 6261842"/>
              <a:gd name="connsiteY6" fmla="*/ 7524422 h 8428587"/>
              <a:gd name="connsiteX0" fmla="*/ 5116 w 4945106"/>
              <a:gd name="connsiteY0" fmla="*/ 7524422 h 8428587"/>
              <a:gd name="connsiteX1" fmla="*/ 4246134 w 4945106"/>
              <a:gd name="connsiteY1" fmla="*/ 0 h 8428587"/>
              <a:gd name="connsiteX2" fmla="*/ 4945106 w 4945106"/>
              <a:gd name="connsiteY2" fmla="*/ 7039790 h 8428587"/>
              <a:gd name="connsiteX3" fmla="*/ 4246134 w 4945106"/>
              <a:gd name="connsiteY3" fmla="*/ 8428587 h 8428587"/>
              <a:gd name="connsiteX4" fmla="*/ 0 w 4945106"/>
              <a:gd name="connsiteY4" fmla="*/ 8428587 h 8428587"/>
              <a:gd name="connsiteX5" fmla="*/ 5116 w 4945106"/>
              <a:gd name="connsiteY5" fmla="*/ 7524422 h 8428587"/>
              <a:gd name="connsiteX0" fmla="*/ 5116 w 4945106"/>
              <a:gd name="connsiteY0" fmla="*/ 484632 h 1388797"/>
              <a:gd name="connsiteX1" fmla="*/ 4945106 w 4945106"/>
              <a:gd name="connsiteY1" fmla="*/ 0 h 1388797"/>
              <a:gd name="connsiteX2" fmla="*/ 4246134 w 4945106"/>
              <a:gd name="connsiteY2" fmla="*/ 1388797 h 1388797"/>
              <a:gd name="connsiteX3" fmla="*/ 0 w 4945106"/>
              <a:gd name="connsiteY3" fmla="*/ 1388797 h 1388797"/>
              <a:gd name="connsiteX4" fmla="*/ 5116 w 4945106"/>
              <a:gd name="connsiteY4" fmla="*/ 484632 h 1388797"/>
              <a:gd name="connsiteX0" fmla="*/ 5116 w 4731627"/>
              <a:gd name="connsiteY0" fmla="*/ 61233 h 965398"/>
              <a:gd name="connsiteX1" fmla="*/ 4731627 w 4731627"/>
              <a:gd name="connsiteY1" fmla="*/ 0 h 965398"/>
              <a:gd name="connsiteX2" fmla="*/ 4246134 w 4731627"/>
              <a:gd name="connsiteY2" fmla="*/ 965398 h 965398"/>
              <a:gd name="connsiteX3" fmla="*/ 0 w 4731627"/>
              <a:gd name="connsiteY3" fmla="*/ 965398 h 965398"/>
              <a:gd name="connsiteX4" fmla="*/ 5116 w 4731627"/>
              <a:gd name="connsiteY4" fmla="*/ 61233 h 965398"/>
              <a:gd name="connsiteX0" fmla="*/ 150993 w 4731627"/>
              <a:gd name="connsiteY0" fmla="*/ 747 h 965398"/>
              <a:gd name="connsiteX1" fmla="*/ 4731627 w 4731627"/>
              <a:gd name="connsiteY1" fmla="*/ 0 h 965398"/>
              <a:gd name="connsiteX2" fmla="*/ 4246134 w 4731627"/>
              <a:gd name="connsiteY2" fmla="*/ 965398 h 965398"/>
              <a:gd name="connsiteX3" fmla="*/ 0 w 4731627"/>
              <a:gd name="connsiteY3" fmla="*/ 965398 h 965398"/>
              <a:gd name="connsiteX4" fmla="*/ 150993 w 4731627"/>
              <a:gd name="connsiteY4" fmla="*/ 747 h 965398"/>
              <a:gd name="connsiteX0" fmla="*/ 217 w 4580851"/>
              <a:gd name="connsiteY0" fmla="*/ 747 h 965398"/>
              <a:gd name="connsiteX1" fmla="*/ 4580851 w 4580851"/>
              <a:gd name="connsiteY1" fmla="*/ 0 h 965398"/>
              <a:gd name="connsiteX2" fmla="*/ 4095358 w 4580851"/>
              <a:gd name="connsiteY2" fmla="*/ 965398 h 965398"/>
              <a:gd name="connsiteX3" fmla="*/ 5775 w 4580851"/>
              <a:gd name="connsiteY3" fmla="*/ 965398 h 965398"/>
              <a:gd name="connsiteX4" fmla="*/ 217 w 4580851"/>
              <a:gd name="connsiteY4" fmla="*/ 747 h 965398"/>
              <a:gd name="connsiteX0" fmla="*/ 217 w 4580851"/>
              <a:gd name="connsiteY0" fmla="*/ 0 h 968209"/>
              <a:gd name="connsiteX1" fmla="*/ 4580851 w 4580851"/>
              <a:gd name="connsiteY1" fmla="*/ 2811 h 968209"/>
              <a:gd name="connsiteX2" fmla="*/ 4095358 w 4580851"/>
              <a:gd name="connsiteY2" fmla="*/ 968209 h 968209"/>
              <a:gd name="connsiteX3" fmla="*/ 5775 w 4580851"/>
              <a:gd name="connsiteY3" fmla="*/ 968209 h 968209"/>
              <a:gd name="connsiteX4" fmla="*/ 217 w 4580851"/>
              <a:gd name="connsiteY4" fmla="*/ 0 h 968209"/>
              <a:gd name="connsiteX0" fmla="*/ 792 w 4575076"/>
              <a:gd name="connsiteY0" fmla="*/ 364 h 965398"/>
              <a:gd name="connsiteX1" fmla="*/ 4575076 w 4575076"/>
              <a:gd name="connsiteY1" fmla="*/ 0 h 965398"/>
              <a:gd name="connsiteX2" fmla="*/ 4089583 w 4575076"/>
              <a:gd name="connsiteY2" fmla="*/ 965398 h 965398"/>
              <a:gd name="connsiteX3" fmla="*/ 0 w 4575076"/>
              <a:gd name="connsiteY3" fmla="*/ 965398 h 965398"/>
              <a:gd name="connsiteX4" fmla="*/ 792 w 4575076"/>
              <a:gd name="connsiteY4" fmla="*/ 364 h 965398"/>
              <a:gd name="connsiteX0" fmla="*/ 317 w 4577776"/>
              <a:gd name="connsiteY0" fmla="*/ 364 h 965398"/>
              <a:gd name="connsiteX1" fmla="*/ 4577776 w 4577776"/>
              <a:gd name="connsiteY1" fmla="*/ 0 h 965398"/>
              <a:gd name="connsiteX2" fmla="*/ 4092283 w 4577776"/>
              <a:gd name="connsiteY2" fmla="*/ 965398 h 965398"/>
              <a:gd name="connsiteX3" fmla="*/ 2700 w 4577776"/>
              <a:gd name="connsiteY3" fmla="*/ 965398 h 965398"/>
              <a:gd name="connsiteX4" fmla="*/ 317 w 4577776"/>
              <a:gd name="connsiteY4" fmla="*/ 364 h 965398"/>
              <a:gd name="connsiteX0" fmla="*/ 792 w 4575076"/>
              <a:gd name="connsiteY0" fmla="*/ 3539 h 965398"/>
              <a:gd name="connsiteX1" fmla="*/ 4575076 w 4575076"/>
              <a:gd name="connsiteY1" fmla="*/ 0 h 965398"/>
              <a:gd name="connsiteX2" fmla="*/ 4089583 w 4575076"/>
              <a:gd name="connsiteY2" fmla="*/ 965398 h 965398"/>
              <a:gd name="connsiteX3" fmla="*/ 0 w 4575076"/>
              <a:gd name="connsiteY3" fmla="*/ 965398 h 965398"/>
              <a:gd name="connsiteX4" fmla="*/ 792 w 4575076"/>
              <a:gd name="connsiteY4" fmla="*/ 3539 h 965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75076" h="965398">
                <a:moveTo>
                  <a:pt x="792" y="3539"/>
                </a:moveTo>
                <a:lnTo>
                  <a:pt x="4575076" y="0"/>
                </a:lnTo>
                <a:lnTo>
                  <a:pt x="4089583" y="965398"/>
                </a:lnTo>
                <a:lnTo>
                  <a:pt x="0" y="965398"/>
                </a:lnTo>
                <a:cubicBezTo>
                  <a:pt x="1705" y="664010"/>
                  <a:pt x="-913" y="304927"/>
                  <a:pt x="792" y="3539"/>
                </a:cubicBezTo>
                <a:close/>
              </a:path>
            </a:pathLst>
          </a:custGeom>
          <a:solidFill>
            <a:srgbClr val="006AB6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BC7323C-F7B3-894D-8676-9BF33BD483BC}"/>
              </a:ext>
            </a:extLst>
          </p:cNvPr>
          <p:cNvSpPr/>
          <p:nvPr userDrawn="1"/>
        </p:nvSpPr>
        <p:spPr>
          <a:xfrm>
            <a:off x="0" y="2855645"/>
            <a:ext cx="12191999" cy="1146710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 strike="sngStrik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717924-3210-724E-B87A-5331F1DB52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512" y="1"/>
            <a:ext cx="10247273" cy="961176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B0E36-3071-A44F-BACC-D883AC3D6C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9515" y="4978874"/>
            <a:ext cx="3547398" cy="1461815"/>
          </a:xfrm>
        </p:spPr>
        <p:txBody>
          <a:bodyPr anchor="t">
            <a:noAutofit/>
          </a:bodyPr>
          <a:lstStyle>
            <a:lvl1pPr marL="0" indent="0" algn="ctr"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F6B1AF5-2863-0747-BC72-FDD194AB0E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332813" y="4984819"/>
            <a:ext cx="3547395" cy="1454189"/>
          </a:xfrm>
        </p:spPr>
        <p:txBody>
          <a:bodyPr anchor="t">
            <a:noAutofit/>
          </a:bodyPr>
          <a:lstStyle>
            <a:lvl1pPr marL="0" indent="0" algn="ctr"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B8FB91F-9A75-7040-9914-398E04E76BA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-13071763" y="6254040"/>
            <a:ext cx="2743200" cy="365125"/>
          </a:xfrm>
        </p:spPr>
        <p:txBody>
          <a:bodyPr/>
          <a:lstStyle/>
          <a:p>
            <a:fld id="{978044AF-CED4-0041-B851-6374C8DF4BD0}" type="datetimeFigureOut">
              <a:rPr lang="en-FI" smtClean="0"/>
              <a:t>09/09/2022</a:t>
            </a:fld>
            <a:endParaRPr lang="en-FI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610B09C2-05AD-414D-8E2F-C136291D20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65089" y="4994119"/>
            <a:ext cx="3579912" cy="1454179"/>
          </a:xfrm>
        </p:spPr>
        <p:txBody>
          <a:bodyPr anchor="t">
            <a:noAutofit/>
          </a:bodyPr>
          <a:lstStyle>
            <a:lvl1pPr marL="0" indent="0" algn="ctr"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3F5162E4-CD52-D84D-BE5C-0084F153796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79516" y="1448414"/>
            <a:ext cx="3547397" cy="3249613"/>
          </a:xfrm>
        </p:spPr>
        <p:txBody>
          <a:bodyPr/>
          <a:lstStyle/>
          <a:p>
            <a:endParaRPr lang="en-FI"/>
          </a:p>
        </p:txBody>
      </p:sp>
      <p:sp>
        <p:nvSpPr>
          <p:cNvPr id="22" name="Picture Placeholder 20">
            <a:extLst>
              <a:ext uri="{FF2B5EF4-FFF2-40B4-BE49-F238E27FC236}">
                <a16:creationId xmlns:a16="http://schemas.microsoft.com/office/drawing/2014/main" id="{ADC51BF5-724D-8B4E-9C02-35D3FC63DBD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32815" y="1442446"/>
            <a:ext cx="3547396" cy="3249613"/>
          </a:xfrm>
        </p:spPr>
        <p:txBody>
          <a:bodyPr/>
          <a:lstStyle/>
          <a:p>
            <a:endParaRPr lang="en-FI"/>
          </a:p>
        </p:txBody>
      </p:sp>
      <p:sp>
        <p:nvSpPr>
          <p:cNvPr id="23" name="Picture Placeholder 20">
            <a:extLst>
              <a:ext uri="{FF2B5EF4-FFF2-40B4-BE49-F238E27FC236}">
                <a16:creationId xmlns:a16="http://schemas.microsoft.com/office/drawing/2014/main" id="{12E0C849-D454-E644-9E93-B69489E78C4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5089" y="1442445"/>
            <a:ext cx="3579912" cy="3249613"/>
          </a:xfrm>
        </p:spPr>
        <p:txBody>
          <a:bodyPr/>
          <a:lstStyle/>
          <a:p>
            <a:endParaRPr lang="en-FI"/>
          </a:p>
        </p:txBody>
      </p:sp>
      <p:pic>
        <p:nvPicPr>
          <p:cNvPr id="18" name="Picture 17" descr="Icon&#10;&#10;Description automatically generated">
            <a:extLst>
              <a:ext uri="{FF2B5EF4-FFF2-40B4-BE49-F238E27FC236}">
                <a16:creationId xmlns:a16="http://schemas.microsoft.com/office/drawing/2014/main" id="{3E78A479-BBB1-A743-AB85-3DDBB38BE1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30644" y="107806"/>
            <a:ext cx="1054100" cy="741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2372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- l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5">
            <a:extLst>
              <a:ext uri="{FF2B5EF4-FFF2-40B4-BE49-F238E27FC236}">
                <a16:creationId xmlns:a16="http://schemas.microsoft.com/office/drawing/2014/main" id="{8811CE06-26D4-9047-BD11-ACB6DB28B87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792803" y="793"/>
            <a:ext cx="3776400" cy="2497764"/>
          </a:xfrm>
          <a:custGeom>
            <a:avLst/>
            <a:gdLst>
              <a:gd name="connsiteX0" fmla="*/ 0 w 3776400"/>
              <a:gd name="connsiteY0" fmla="*/ 1627200 h 3254400"/>
              <a:gd name="connsiteX1" fmla="*/ 813600 w 3776400"/>
              <a:gd name="connsiteY1" fmla="*/ 1 h 3254400"/>
              <a:gd name="connsiteX2" fmla="*/ 2962800 w 3776400"/>
              <a:gd name="connsiteY2" fmla="*/ 1 h 3254400"/>
              <a:gd name="connsiteX3" fmla="*/ 3776400 w 3776400"/>
              <a:gd name="connsiteY3" fmla="*/ 1627200 h 3254400"/>
              <a:gd name="connsiteX4" fmla="*/ 2962800 w 3776400"/>
              <a:gd name="connsiteY4" fmla="*/ 3254399 h 3254400"/>
              <a:gd name="connsiteX5" fmla="*/ 813600 w 3776400"/>
              <a:gd name="connsiteY5" fmla="*/ 3254399 h 3254400"/>
              <a:gd name="connsiteX6" fmla="*/ 0 w 3776400"/>
              <a:gd name="connsiteY6" fmla="*/ 1627200 h 3254400"/>
              <a:gd name="connsiteX0" fmla="*/ 0 w 3776400"/>
              <a:gd name="connsiteY0" fmla="*/ 1627199 h 3254398"/>
              <a:gd name="connsiteX1" fmla="*/ 433673 w 3776400"/>
              <a:gd name="connsiteY1" fmla="*/ 759853 h 3254398"/>
              <a:gd name="connsiteX2" fmla="*/ 2962800 w 3776400"/>
              <a:gd name="connsiteY2" fmla="*/ 0 h 3254398"/>
              <a:gd name="connsiteX3" fmla="*/ 3776400 w 3776400"/>
              <a:gd name="connsiteY3" fmla="*/ 1627199 h 3254398"/>
              <a:gd name="connsiteX4" fmla="*/ 2962800 w 3776400"/>
              <a:gd name="connsiteY4" fmla="*/ 3254398 h 3254398"/>
              <a:gd name="connsiteX5" fmla="*/ 813600 w 3776400"/>
              <a:gd name="connsiteY5" fmla="*/ 3254398 h 3254398"/>
              <a:gd name="connsiteX6" fmla="*/ 0 w 3776400"/>
              <a:gd name="connsiteY6" fmla="*/ 1627199 h 3254398"/>
              <a:gd name="connsiteX0" fmla="*/ 0 w 3776400"/>
              <a:gd name="connsiteY0" fmla="*/ 870565 h 2497764"/>
              <a:gd name="connsiteX1" fmla="*/ 433673 w 3776400"/>
              <a:gd name="connsiteY1" fmla="*/ 3219 h 2497764"/>
              <a:gd name="connsiteX2" fmla="*/ 3342727 w 3776400"/>
              <a:gd name="connsiteY2" fmla="*/ 0 h 2497764"/>
              <a:gd name="connsiteX3" fmla="*/ 3776400 w 3776400"/>
              <a:gd name="connsiteY3" fmla="*/ 870565 h 2497764"/>
              <a:gd name="connsiteX4" fmla="*/ 2962800 w 3776400"/>
              <a:gd name="connsiteY4" fmla="*/ 2497764 h 2497764"/>
              <a:gd name="connsiteX5" fmla="*/ 813600 w 3776400"/>
              <a:gd name="connsiteY5" fmla="*/ 2497764 h 2497764"/>
              <a:gd name="connsiteX6" fmla="*/ 0 w 3776400"/>
              <a:gd name="connsiteY6" fmla="*/ 870565 h 2497764"/>
              <a:gd name="connsiteX0" fmla="*/ 0 w 3776400"/>
              <a:gd name="connsiteY0" fmla="*/ 899543 h 2526742"/>
              <a:gd name="connsiteX1" fmla="*/ 449771 w 3776400"/>
              <a:gd name="connsiteY1" fmla="*/ 0 h 2526742"/>
              <a:gd name="connsiteX2" fmla="*/ 3342727 w 3776400"/>
              <a:gd name="connsiteY2" fmla="*/ 28978 h 2526742"/>
              <a:gd name="connsiteX3" fmla="*/ 3776400 w 3776400"/>
              <a:gd name="connsiteY3" fmla="*/ 899543 h 2526742"/>
              <a:gd name="connsiteX4" fmla="*/ 2962800 w 3776400"/>
              <a:gd name="connsiteY4" fmla="*/ 2526742 h 2526742"/>
              <a:gd name="connsiteX5" fmla="*/ 813600 w 3776400"/>
              <a:gd name="connsiteY5" fmla="*/ 2526742 h 2526742"/>
              <a:gd name="connsiteX6" fmla="*/ 0 w 3776400"/>
              <a:gd name="connsiteY6" fmla="*/ 899543 h 2526742"/>
              <a:gd name="connsiteX0" fmla="*/ 0 w 3776400"/>
              <a:gd name="connsiteY0" fmla="*/ 870565 h 2497764"/>
              <a:gd name="connsiteX1" fmla="*/ 433673 w 3776400"/>
              <a:gd name="connsiteY1" fmla="*/ 0 h 2497764"/>
              <a:gd name="connsiteX2" fmla="*/ 3342727 w 3776400"/>
              <a:gd name="connsiteY2" fmla="*/ 0 h 2497764"/>
              <a:gd name="connsiteX3" fmla="*/ 3776400 w 3776400"/>
              <a:gd name="connsiteY3" fmla="*/ 870565 h 2497764"/>
              <a:gd name="connsiteX4" fmla="*/ 2962800 w 3776400"/>
              <a:gd name="connsiteY4" fmla="*/ 2497764 h 2497764"/>
              <a:gd name="connsiteX5" fmla="*/ 813600 w 3776400"/>
              <a:gd name="connsiteY5" fmla="*/ 2497764 h 2497764"/>
              <a:gd name="connsiteX6" fmla="*/ 0 w 3776400"/>
              <a:gd name="connsiteY6" fmla="*/ 870565 h 2497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76400" h="2497764">
                <a:moveTo>
                  <a:pt x="0" y="870565"/>
                </a:moveTo>
                <a:lnTo>
                  <a:pt x="433673" y="0"/>
                </a:lnTo>
                <a:lnTo>
                  <a:pt x="3342727" y="0"/>
                </a:lnTo>
                <a:lnTo>
                  <a:pt x="3776400" y="870565"/>
                </a:lnTo>
                <a:lnTo>
                  <a:pt x="2962800" y="2497764"/>
                </a:lnTo>
                <a:lnTo>
                  <a:pt x="813600" y="2497764"/>
                </a:lnTo>
                <a:lnTo>
                  <a:pt x="0" y="870565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Picture Placeholder 16">
            <a:extLst>
              <a:ext uri="{FF2B5EF4-FFF2-40B4-BE49-F238E27FC236}">
                <a16:creationId xmlns:a16="http://schemas.microsoft.com/office/drawing/2014/main" id="{2D0F414D-BF3C-1043-966C-79341BF760C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792803" y="2650075"/>
            <a:ext cx="3776400" cy="3254400"/>
          </a:xfrm>
          <a:prstGeom prst="hexagon">
            <a:avLst/>
          </a:prstGeom>
          <a:noFill/>
        </p:spPr>
        <p:txBody>
          <a:bodyPr wrap="square">
            <a:noAutofit/>
          </a:bodyPr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icture Placeholder 18">
            <a:extLst>
              <a:ext uri="{FF2B5EF4-FFF2-40B4-BE49-F238E27FC236}">
                <a16:creationId xmlns:a16="http://schemas.microsoft.com/office/drawing/2014/main" id="{4CDEACAC-3C47-DA41-8FB4-88654ED7D72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895924" y="942666"/>
            <a:ext cx="2295491" cy="3254398"/>
          </a:xfrm>
          <a:custGeom>
            <a:avLst/>
            <a:gdLst>
              <a:gd name="connsiteX0" fmla="*/ 0 w 3776400"/>
              <a:gd name="connsiteY0" fmla="*/ 1627200 h 3254400"/>
              <a:gd name="connsiteX1" fmla="*/ 813600 w 3776400"/>
              <a:gd name="connsiteY1" fmla="*/ 1 h 3254400"/>
              <a:gd name="connsiteX2" fmla="*/ 2962800 w 3776400"/>
              <a:gd name="connsiteY2" fmla="*/ 1 h 3254400"/>
              <a:gd name="connsiteX3" fmla="*/ 3776400 w 3776400"/>
              <a:gd name="connsiteY3" fmla="*/ 1627200 h 3254400"/>
              <a:gd name="connsiteX4" fmla="*/ 2962800 w 3776400"/>
              <a:gd name="connsiteY4" fmla="*/ 3254399 h 3254400"/>
              <a:gd name="connsiteX5" fmla="*/ 813600 w 3776400"/>
              <a:gd name="connsiteY5" fmla="*/ 3254399 h 3254400"/>
              <a:gd name="connsiteX6" fmla="*/ 0 w 3776400"/>
              <a:gd name="connsiteY6" fmla="*/ 1627200 h 3254400"/>
              <a:gd name="connsiteX0" fmla="*/ 0 w 3776400"/>
              <a:gd name="connsiteY0" fmla="*/ 1627199 h 3254398"/>
              <a:gd name="connsiteX1" fmla="*/ 813600 w 3776400"/>
              <a:gd name="connsiteY1" fmla="*/ 0 h 3254398"/>
              <a:gd name="connsiteX2" fmla="*/ 2291514 w 3776400"/>
              <a:gd name="connsiteY2" fmla="*/ 0 h 3254398"/>
              <a:gd name="connsiteX3" fmla="*/ 3776400 w 3776400"/>
              <a:gd name="connsiteY3" fmla="*/ 1627199 h 3254398"/>
              <a:gd name="connsiteX4" fmla="*/ 2962800 w 3776400"/>
              <a:gd name="connsiteY4" fmla="*/ 3254398 h 3254398"/>
              <a:gd name="connsiteX5" fmla="*/ 813600 w 3776400"/>
              <a:gd name="connsiteY5" fmla="*/ 3254398 h 3254398"/>
              <a:gd name="connsiteX6" fmla="*/ 0 w 3776400"/>
              <a:gd name="connsiteY6" fmla="*/ 1627199 h 3254398"/>
              <a:gd name="connsiteX0" fmla="*/ 0 w 3776400"/>
              <a:gd name="connsiteY0" fmla="*/ 1627199 h 3254398"/>
              <a:gd name="connsiteX1" fmla="*/ 813600 w 3776400"/>
              <a:gd name="connsiteY1" fmla="*/ 0 h 3254398"/>
              <a:gd name="connsiteX2" fmla="*/ 2291514 w 3776400"/>
              <a:gd name="connsiteY2" fmla="*/ 0 h 3254398"/>
              <a:gd name="connsiteX3" fmla="*/ 3776400 w 3776400"/>
              <a:gd name="connsiteY3" fmla="*/ 1627199 h 3254398"/>
              <a:gd name="connsiteX4" fmla="*/ 2295142 w 3776400"/>
              <a:gd name="connsiteY4" fmla="*/ 3254398 h 3254398"/>
              <a:gd name="connsiteX5" fmla="*/ 813600 w 3776400"/>
              <a:gd name="connsiteY5" fmla="*/ 3254398 h 3254398"/>
              <a:gd name="connsiteX6" fmla="*/ 0 w 3776400"/>
              <a:gd name="connsiteY6" fmla="*/ 1627199 h 3254398"/>
              <a:gd name="connsiteX0" fmla="*/ 0 w 2295142"/>
              <a:gd name="connsiteY0" fmla="*/ 1627199 h 3254398"/>
              <a:gd name="connsiteX1" fmla="*/ 813600 w 2295142"/>
              <a:gd name="connsiteY1" fmla="*/ 0 h 3254398"/>
              <a:gd name="connsiteX2" fmla="*/ 2291514 w 2295142"/>
              <a:gd name="connsiteY2" fmla="*/ 0 h 3254398"/>
              <a:gd name="connsiteX3" fmla="*/ 2295142 w 2295142"/>
              <a:gd name="connsiteY3" fmla="*/ 3254398 h 3254398"/>
              <a:gd name="connsiteX4" fmla="*/ 813600 w 2295142"/>
              <a:gd name="connsiteY4" fmla="*/ 3254398 h 3254398"/>
              <a:gd name="connsiteX5" fmla="*/ 0 w 2295142"/>
              <a:gd name="connsiteY5" fmla="*/ 1627199 h 3254398"/>
              <a:gd name="connsiteX0" fmla="*/ 0 w 2465691"/>
              <a:gd name="connsiteY0" fmla="*/ 1627199 h 3254398"/>
              <a:gd name="connsiteX1" fmla="*/ 813600 w 2465691"/>
              <a:gd name="connsiteY1" fmla="*/ 0 h 3254398"/>
              <a:gd name="connsiteX2" fmla="*/ 2465685 w 2465691"/>
              <a:gd name="connsiteY2" fmla="*/ 0 h 3254398"/>
              <a:gd name="connsiteX3" fmla="*/ 2295142 w 2465691"/>
              <a:gd name="connsiteY3" fmla="*/ 3254398 h 3254398"/>
              <a:gd name="connsiteX4" fmla="*/ 813600 w 2465691"/>
              <a:gd name="connsiteY4" fmla="*/ 3254398 h 3254398"/>
              <a:gd name="connsiteX5" fmla="*/ 0 w 2465691"/>
              <a:gd name="connsiteY5" fmla="*/ 1627199 h 3254398"/>
              <a:gd name="connsiteX0" fmla="*/ 0 w 2295491"/>
              <a:gd name="connsiteY0" fmla="*/ 1627199 h 3254398"/>
              <a:gd name="connsiteX1" fmla="*/ 813600 w 2295491"/>
              <a:gd name="connsiteY1" fmla="*/ 0 h 3254398"/>
              <a:gd name="connsiteX2" fmla="*/ 2295142 w 2295491"/>
              <a:gd name="connsiteY2" fmla="*/ 0 h 3254398"/>
              <a:gd name="connsiteX3" fmla="*/ 2295142 w 2295491"/>
              <a:gd name="connsiteY3" fmla="*/ 3254398 h 3254398"/>
              <a:gd name="connsiteX4" fmla="*/ 813600 w 2295491"/>
              <a:gd name="connsiteY4" fmla="*/ 3254398 h 3254398"/>
              <a:gd name="connsiteX5" fmla="*/ 0 w 2295491"/>
              <a:gd name="connsiteY5" fmla="*/ 1627199 h 3254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95491" h="3254398">
                <a:moveTo>
                  <a:pt x="0" y="1627199"/>
                </a:moveTo>
                <a:lnTo>
                  <a:pt x="813600" y="0"/>
                </a:lnTo>
                <a:lnTo>
                  <a:pt x="2295142" y="0"/>
                </a:lnTo>
                <a:cubicBezTo>
                  <a:pt x="2296351" y="1084799"/>
                  <a:pt x="2293933" y="2169599"/>
                  <a:pt x="2295142" y="3254398"/>
                </a:cubicBezTo>
                <a:lnTo>
                  <a:pt x="813600" y="3254398"/>
                </a:lnTo>
                <a:lnTo>
                  <a:pt x="0" y="1627199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Picture Placeholder 15">
            <a:extLst>
              <a:ext uri="{FF2B5EF4-FFF2-40B4-BE49-F238E27FC236}">
                <a16:creationId xmlns:a16="http://schemas.microsoft.com/office/drawing/2014/main" id="{F40B934C-C0BD-E844-950D-CB53233123C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689682" y="4348583"/>
            <a:ext cx="3776400" cy="2511448"/>
          </a:xfrm>
          <a:custGeom>
            <a:avLst/>
            <a:gdLst>
              <a:gd name="connsiteX0" fmla="*/ 0 w 3776400"/>
              <a:gd name="connsiteY0" fmla="*/ 1627200 h 3254400"/>
              <a:gd name="connsiteX1" fmla="*/ 813600 w 3776400"/>
              <a:gd name="connsiteY1" fmla="*/ 1 h 3254400"/>
              <a:gd name="connsiteX2" fmla="*/ 2962800 w 3776400"/>
              <a:gd name="connsiteY2" fmla="*/ 1 h 3254400"/>
              <a:gd name="connsiteX3" fmla="*/ 3776400 w 3776400"/>
              <a:gd name="connsiteY3" fmla="*/ 1627200 h 3254400"/>
              <a:gd name="connsiteX4" fmla="*/ 2962800 w 3776400"/>
              <a:gd name="connsiteY4" fmla="*/ 3254399 h 3254400"/>
              <a:gd name="connsiteX5" fmla="*/ 813600 w 3776400"/>
              <a:gd name="connsiteY5" fmla="*/ 3254399 h 3254400"/>
              <a:gd name="connsiteX6" fmla="*/ 0 w 3776400"/>
              <a:gd name="connsiteY6" fmla="*/ 1627200 h 3254400"/>
              <a:gd name="connsiteX0" fmla="*/ 0 w 3776400"/>
              <a:gd name="connsiteY0" fmla="*/ 1627199 h 3254398"/>
              <a:gd name="connsiteX1" fmla="*/ 813600 w 3776400"/>
              <a:gd name="connsiteY1" fmla="*/ 0 h 3254398"/>
              <a:gd name="connsiteX2" fmla="*/ 2962800 w 3776400"/>
              <a:gd name="connsiteY2" fmla="*/ 0 h 3254398"/>
              <a:gd name="connsiteX3" fmla="*/ 3776400 w 3776400"/>
              <a:gd name="connsiteY3" fmla="*/ 1627199 h 3254398"/>
              <a:gd name="connsiteX4" fmla="*/ 2962800 w 3776400"/>
              <a:gd name="connsiteY4" fmla="*/ 3254398 h 3254398"/>
              <a:gd name="connsiteX5" fmla="*/ 442125 w 3776400"/>
              <a:gd name="connsiteY5" fmla="*/ 2511448 h 3254398"/>
              <a:gd name="connsiteX6" fmla="*/ 0 w 3776400"/>
              <a:gd name="connsiteY6" fmla="*/ 1627199 h 3254398"/>
              <a:gd name="connsiteX0" fmla="*/ 0 w 3776400"/>
              <a:gd name="connsiteY0" fmla="*/ 1627199 h 2511448"/>
              <a:gd name="connsiteX1" fmla="*/ 813600 w 3776400"/>
              <a:gd name="connsiteY1" fmla="*/ 0 h 2511448"/>
              <a:gd name="connsiteX2" fmla="*/ 2962800 w 3776400"/>
              <a:gd name="connsiteY2" fmla="*/ 0 h 2511448"/>
              <a:gd name="connsiteX3" fmla="*/ 3776400 w 3776400"/>
              <a:gd name="connsiteY3" fmla="*/ 1627199 h 2511448"/>
              <a:gd name="connsiteX4" fmla="*/ 3331100 w 3776400"/>
              <a:gd name="connsiteY4" fmla="*/ 2511448 h 2511448"/>
              <a:gd name="connsiteX5" fmla="*/ 442125 w 3776400"/>
              <a:gd name="connsiteY5" fmla="*/ 2511448 h 2511448"/>
              <a:gd name="connsiteX6" fmla="*/ 0 w 3776400"/>
              <a:gd name="connsiteY6" fmla="*/ 1627199 h 2511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76400" h="2511448">
                <a:moveTo>
                  <a:pt x="0" y="1627199"/>
                </a:moveTo>
                <a:lnTo>
                  <a:pt x="813600" y="0"/>
                </a:lnTo>
                <a:lnTo>
                  <a:pt x="2962800" y="0"/>
                </a:lnTo>
                <a:lnTo>
                  <a:pt x="3776400" y="1627199"/>
                </a:lnTo>
                <a:lnTo>
                  <a:pt x="3331100" y="2511448"/>
                </a:lnTo>
                <a:lnTo>
                  <a:pt x="442125" y="2511448"/>
                </a:lnTo>
                <a:lnTo>
                  <a:pt x="0" y="1627199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Picture Placeholder 18">
            <a:extLst>
              <a:ext uri="{FF2B5EF4-FFF2-40B4-BE49-F238E27FC236}">
                <a16:creationId xmlns:a16="http://schemas.microsoft.com/office/drawing/2014/main" id="{9F055AAC-9777-5A49-A3BA-7525E348D94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895923" y="4348582"/>
            <a:ext cx="2295491" cy="2511397"/>
          </a:xfrm>
          <a:custGeom>
            <a:avLst/>
            <a:gdLst>
              <a:gd name="connsiteX0" fmla="*/ 0 w 3776400"/>
              <a:gd name="connsiteY0" fmla="*/ 1627200 h 3254400"/>
              <a:gd name="connsiteX1" fmla="*/ 813600 w 3776400"/>
              <a:gd name="connsiteY1" fmla="*/ 1 h 3254400"/>
              <a:gd name="connsiteX2" fmla="*/ 2962800 w 3776400"/>
              <a:gd name="connsiteY2" fmla="*/ 1 h 3254400"/>
              <a:gd name="connsiteX3" fmla="*/ 3776400 w 3776400"/>
              <a:gd name="connsiteY3" fmla="*/ 1627200 h 3254400"/>
              <a:gd name="connsiteX4" fmla="*/ 2962800 w 3776400"/>
              <a:gd name="connsiteY4" fmla="*/ 3254399 h 3254400"/>
              <a:gd name="connsiteX5" fmla="*/ 813600 w 3776400"/>
              <a:gd name="connsiteY5" fmla="*/ 3254399 h 3254400"/>
              <a:gd name="connsiteX6" fmla="*/ 0 w 3776400"/>
              <a:gd name="connsiteY6" fmla="*/ 1627200 h 3254400"/>
              <a:gd name="connsiteX0" fmla="*/ 0 w 3776400"/>
              <a:gd name="connsiteY0" fmla="*/ 1627199 h 3254398"/>
              <a:gd name="connsiteX1" fmla="*/ 813600 w 3776400"/>
              <a:gd name="connsiteY1" fmla="*/ 0 h 3254398"/>
              <a:gd name="connsiteX2" fmla="*/ 2291514 w 3776400"/>
              <a:gd name="connsiteY2" fmla="*/ 0 h 3254398"/>
              <a:gd name="connsiteX3" fmla="*/ 3776400 w 3776400"/>
              <a:gd name="connsiteY3" fmla="*/ 1627199 h 3254398"/>
              <a:gd name="connsiteX4" fmla="*/ 2962800 w 3776400"/>
              <a:gd name="connsiteY4" fmla="*/ 3254398 h 3254398"/>
              <a:gd name="connsiteX5" fmla="*/ 813600 w 3776400"/>
              <a:gd name="connsiteY5" fmla="*/ 3254398 h 3254398"/>
              <a:gd name="connsiteX6" fmla="*/ 0 w 3776400"/>
              <a:gd name="connsiteY6" fmla="*/ 1627199 h 3254398"/>
              <a:gd name="connsiteX0" fmla="*/ 0 w 3776400"/>
              <a:gd name="connsiteY0" fmla="*/ 1627199 h 3254398"/>
              <a:gd name="connsiteX1" fmla="*/ 813600 w 3776400"/>
              <a:gd name="connsiteY1" fmla="*/ 0 h 3254398"/>
              <a:gd name="connsiteX2" fmla="*/ 2291514 w 3776400"/>
              <a:gd name="connsiteY2" fmla="*/ 0 h 3254398"/>
              <a:gd name="connsiteX3" fmla="*/ 3776400 w 3776400"/>
              <a:gd name="connsiteY3" fmla="*/ 1627199 h 3254398"/>
              <a:gd name="connsiteX4" fmla="*/ 2295142 w 3776400"/>
              <a:gd name="connsiteY4" fmla="*/ 3254398 h 3254398"/>
              <a:gd name="connsiteX5" fmla="*/ 813600 w 3776400"/>
              <a:gd name="connsiteY5" fmla="*/ 3254398 h 3254398"/>
              <a:gd name="connsiteX6" fmla="*/ 0 w 3776400"/>
              <a:gd name="connsiteY6" fmla="*/ 1627199 h 3254398"/>
              <a:gd name="connsiteX0" fmla="*/ 0 w 2295142"/>
              <a:gd name="connsiteY0" fmla="*/ 1627199 h 3254398"/>
              <a:gd name="connsiteX1" fmla="*/ 813600 w 2295142"/>
              <a:gd name="connsiteY1" fmla="*/ 0 h 3254398"/>
              <a:gd name="connsiteX2" fmla="*/ 2291514 w 2295142"/>
              <a:gd name="connsiteY2" fmla="*/ 0 h 3254398"/>
              <a:gd name="connsiteX3" fmla="*/ 2295142 w 2295142"/>
              <a:gd name="connsiteY3" fmla="*/ 3254398 h 3254398"/>
              <a:gd name="connsiteX4" fmla="*/ 813600 w 2295142"/>
              <a:gd name="connsiteY4" fmla="*/ 3254398 h 3254398"/>
              <a:gd name="connsiteX5" fmla="*/ 0 w 2295142"/>
              <a:gd name="connsiteY5" fmla="*/ 1627199 h 3254398"/>
              <a:gd name="connsiteX0" fmla="*/ 0 w 2465691"/>
              <a:gd name="connsiteY0" fmla="*/ 1627199 h 3254398"/>
              <a:gd name="connsiteX1" fmla="*/ 813600 w 2465691"/>
              <a:gd name="connsiteY1" fmla="*/ 0 h 3254398"/>
              <a:gd name="connsiteX2" fmla="*/ 2465685 w 2465691"/>
              <a:gd name="connsiteY2" fmla="*/ 0 h 3254398"/>
              <a:gd name="connsiteX3" fmla="*/ 2295142 w 2465691"/>
              <a:gd name="connsiteY3" fmla="*/ 3254398 h 3254398"/>
              <a:gd name="connsiteX4" fmla="*/ 813600 w 2465691"/>
              <a:gd name="connsiteY4" fmla="*/ 3254398 h 3254398"/>
              <a:gd name="connsiteX5" fmla="*/ 0 w 2465691"/>
              <a:gd name="connsiteY5" fmla="*/ 1627199 h 3254398"/>
              <a:gd name="connsiteX0" fmla="*/ 0 w 2295491"/>
              <a:gd name="connsiteY0" fmla="*/ 1627199 h 3254398"/>
              <a:gd name="connsiteX1" fmla="*/ 813600 w 2295491"/>
              <a:gd name="connsiteY1" fmla="*/ 0 h 3254398"/>
              <a:gd name="connsiteX2" fmla="*/ 2295142 w 2295491"/>
              <a:gd name="connsiteY2" fmla="*/ 0 h 3254398"/>
              <a:gd name="connsiteX3" fmla="*/ 2295142 w 2295491"/>
              <a:gd name="connsiteY3" fmla="*/ 3254398 h 3254398"/>
              <a:gd name="connsiteX4" fmla="*/ 813600 w 2295491"/>
              <a:gd name="connsiteY4" fmla="*/ 3254398 h 3254398"/>
              <a:gd name="connsiteX5" fmla="*/ 0 w 2295491"/>
              <a:gd name="connsiteY5" fmla="*/ 1627199 h 3254398"/>
              <a:gd name="connsiteX0" fmla="*/ 0 w 2295491"/>
              <a:gd name="connsiteY0" fmla="*/ 1627199 h 3254398"/>
              <a:gd name="connsiteX1" fmla="*/ 813600 w 2295491"/>
              <a:gd name="connsiteY1" fmla="*/ 0 h 3254398"/>
              <a:gd name="connsiteX2" fmla="*/ 2295142 w 2295491"/>
              <a:gd name="connsiteY2" fmla="*/ 0 h 3254398"/>
              <a:gd name="connsiteX3" fmla="*/ 2295142 w 2295491"/>
              <a:gd name="connsiteY3" fmla="*/ 3254398 h 3254398"/>
              <a:gd name="connsiteX4" fmla="*/ 446862 w 2295491"/>
              <a:gd name="connsiteY4" fmla="*/ 2520922 h 3254398"/>
              <a:gd name="connsiteX5" fmla="*/ 0 w 2295491"/>
              <a:gd name="connsiteY5" fmla="*/ 1627199 h 3254398"/>
              <a:gd name="connsiteX0" fmla="*/ 0 w 2295491"/>
              <a:gd name="connsiteY0" fmla="*/ 1627199 h 2520922"/>
              <a:gd name="connsiteX1" fmla="*/ 813600 w 2295491"/>
              <a:gd name="connsiteY1" fmla="*/ 0 h 2520922"/>
              <a:gd name="connsiteX2" fmla="*/ 2295142 w 2295491"/>
              <a:gd name="connsiteY2" fmla="*/ 0 h 2520922"/>
              <a:gd name="connsiteX3" fmla="*/ 2295142 w 2295491"/>
              <a:gd name="connsiteY3" fmla="*/ 2511142 h 2520922"/>
              <a:gd name="connsiteX4" fmla="*/ 446862 w 2295491"/>
              <a:gd name="connsiteY4" fmla="*/ 2520922 h 2520922"/>
              <a:gd name="connsiteX5" fmla="*/ 0 w 2295491"/>
              <a:gd name="connsiteY5" fmla="*/ 1627199 h 2520922"/>
              <a:gd name="connsiteX0" fmla="*/ 0 w 2295491"/>
              <a:gd name="connsiteY0" fmla="*/ 1627199 h 2590772"/>
              <a:gd name="connsiteX1" fmla="*/ 813600 w 2295491"/>
              <a:gd name="connsiteY1" fmla="*/ 0 h 2590772"/>
              <a:gd name="connsiteX2" fmla="*/ 2295142 w 2295491"/>
              <a:gd name="connsiteY2" fmla="*/ 0 h 2590772"/>
              <a:gd name="connsiteX3" fmla="*/ 2295142 w 2295491"/>
              <a:gd name="connsiteY3" fmla="*/ 2511142 h 2590772"/>
              <a:gd name="connsiteX4" fmla="*/ 481787 w 2295491"/>
              <a:gd name="connsiteY4" fmla="*/ 2590772 h 2590772"/>
              <a:gd name="connsiteX5" fmla="*/ 0 w 2295491"/>
              <a:gd name="connsiteY5" fmla="*/ 1627199 h 2590772"/>
              <a:gd name="connsiteX0" fmla="*/ 0 w 2295491"/>
              <a:gd name="connsiteY0" fmla="*/ 1627199 h 2511142"/>
              <a:gd name="connsiteX1" fmla="*/ 813600 w 2295491"/>
              <a:gd name="connsiteY1" fmla="*/ 0 h 2511142"/>
              <a:gd name="connsiteX2" fmla="*/ 2295142 w 2295491"/>
              <a:gd name="connsiteY2" fmla="*/ 0 h 2511142"/>
              <a:gd name="connsiteX3" fmla="*/ 2295142 w 2295491"/>
              <a:gd name="connsiteY3" fmla="*/ 2511142 h 2511142"/>
              <a:gd name="connsiteX4" fmla="*/ 440512 w 2295491"/>
              <a:gd name="connsiteY4" fmla="*/ 2508222 h 2511142"/>
              <a:gd name="connsiteX5" fmla="*/ 0 w 2295491"/>
              <a:gd name="connsiteY5" fmla="*/ 1627199 h 2511142"/>
              <a:gd name="connsiteX0" fmla="*/ 0 w 2295491"/>
              <a:gd name="connsiteY0" fmla="*/ 1627199 h 2511142"/>
              <a:gd name="connsiteX1" fmla="*/ 813600 w 2295491"/>
              <a:gd name="connsiteY1" fmla="*/ 0 h 2511142"/>
              <a:gd name="connsiteX2" fmla="*/ 2295142 w 2295491"/>
              <a:gd name="connsiteY2" fmla="*/ 0 h 2511142"/>
              <a:gd name="connsiteX3" fmla="*/ 2295142 w 2295491"/>
              <a:gd name="connsiteY3" fmla="*/ 2511142 h 2511142"/>
              <a:gd name="connsiteX4" fmla="*/ 440512 w 2295491"/>
              <a:gd name="connsiteY4" fmla="*/ 2508222 h 2511142"/>
              <a:gd name="connsiteX5" fmla="*/ 0 w 2295491"/>
              <a:gd name="connsiteY5" fmla="*/ 1627199 h 2511142"/>
              <a:gd name="connsiteX0" fmla="*/ 0 w 2295491"/>
              <a:gd name="connsiteY0" fmla="*/ 1627199 h 2520922"/>
              <a:gd name="connsiteX1" fmla="*/ 813600 w 2295491"/>
              <a:gd name="connsiteY1" fmla="*/ 0 h 2520922"/>
              <a:gd name="connsiteX2" fmla="*/ 2295142 w 2295491"/>
              <a:gd name="connsiteY2" fmla="*/ 0 h 2520922"/>
              <a:gd name="connsiteX3" fmla="*/ 2295142 w 2295491"/>
              <a:gd name="connsiteY3" fmla="*/ 2511142 h 2520922"/>
              <a:gd name="connsiteX4" fmla="*/ 443687 w 2295491"/>
              <a:gd name="connsiteY4" fmla="*/ 2520922 h 2520922"/>
              <a:gd name="connsiteX5" fmla="*/ 0 w 2295491"/>
              <a:gd name="connsiteY5" fmla="*/ 1627199 h 2520922"/>
              <a:gd name="connsiteX0" fmla="*/ 0 w 2295491"/>
              <a:gd name="connsiteY0" fmla="*/ 1627199 h 2511397"/>
              <a:gd name="connsiteX1" fmla="*/ 813600 w 2295491"/>
              <a:gd name="connsiteY1" fmla="*/ 0 h 2511397"/>
              <a:gd name="connsiteX2" fmla="*/ 2295142 w 2295491"/>
              <a:gd name="connsiteY2" fmla="*/ 0 h 2511397"/>
              <a:gd name="connsiteX3" fmla="*/ 2295142 w 2295491"/>
              <a:gd name="connsiteY3" fmla="*/ 2511142 h 2511397"/>
              <a:gd name="connsiteX4" fmla="*/ 437337 w 2295491"/>
              <a:gd name="connsiteY4" fmla="*/ 2511397 h 2511397"/>
              <a:gd name="connsiteX5" fmla="*/ 0 w 2295491"/>
              <a:gd name="connsiteY5" fmla="*/ 1627199 h 2511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95491" h="2511397">
                <a:moveTo>
                  <a:pt x="0" y="1627199"/>
                </a:moveTo>
                <a:lnTo>
                  <a:pt x="813600" y="0"/>
                </a:lnTo>
                <a:lnTo>
                  <a:pt x="2295142" y="0"/>
                </a:lnTo>
                <a:cubicBezTo>
                  <a:pt x="2296351" y="1084799"/>
                  <a:pt x="2293933" y="1426343"/>
                  <a:pt x="2295142" y="2511142"/>
                </a:cubicBezTo>
                <a:lnTo>
                  <a:pt x="437337" y="2511397"/>
                </a:lnTo>
                <a:lnTo>
                  <a:pt x="0" y="1627199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71728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- d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5">
            <a:extLst>
              <a:ext uri="{FF2B5EF4-FFF2-40B4-BE49-F238E27FC236}">
                <a16:creationId xmlns:a16="http://schemas.microsoft.com/office/drawing/2014/main" id="{ABFFCAD3-3D13-D549-BC9D-F827F55C6AD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792803" y="793"/>
            <a:ext cx="3776400" cy="2497764"/>
          </a:xfrm>
          <a:custGeom>
            <a:avLst/>
            <a:gdLst>
              <a:gd name="connsiteX0" fmla="*/ 0 w 3776400"/>
              <a:gd name="connsiteY0" fmla="*/ 1627200 h 3254400"/>
              <a:gd name="connsiteX1" fmla="*/ 813600 w 3776400"/>
              <a:gd name="connsiteY1" fmla="*/ 1 h 3254400"/>
              <a:gd name="connsiteX2" fmla="*/ 2962800 w 3776400"/>
              <a:gd name="connsiteY2" fmla="*/ 1 h 3254400"/>
              <a:gd name="connsiteX3" fmla="*/ 3776400 w 3776400"/>
              <a:gd name="connsiteY3" fmla="*/ 1627200 h 3254400"/>
              <a:gd name="connsiteX4" fmla="*/ 2962800 w 3776400"/>
              <a:gd name="connsiteY4" fmla="*/ 3254399 h 3254400"/>
              <a:gd name="connsiteX5" fmla="*/ 813600 w 3776400"/>
              <a:gd name="connsiteY5" fmla="*/ 3254399 h 3254400"/>
              <a:gd name="connsiteX6" fmla="*/ 0 w 3776400"/>
              <a:gd name="connsiteY6" fmla="*/ 1627200 h 3254400"/>
              <a:gd name="connsiteX0" fmla="*/ 0 w 3776400"/>
              <a:gd name="connsiteY0" fmla="*/ 1627199 h 3254398"/>
              <a:gd name="connsiteX1" fmla="*/ 433673 w 3776400"/>
              <a:gd name="connsiteY1" fmla="*/ 759853 h 3254398"/>
              <a:gd name="connsiteX2" fmla="*/ 2962800 w 3776400"/>
              <a:gd name="connsiteY2" fmla="*/ 0 h 3254398"/>
              <a:gd name="connsiteX3" fmla="*/ 3776400 w 3776400"/>
              <a:gd name="connsiteY3" fmla="*/ 1627199 h 3254398"/>
              <a:gd name="connsiteX4" fmla="*/ 2962800 w 3776400"/>
              <a:gd name="connsiteY4" fmla="*/ 3254398 h 3254398"/>
              <a:gd name="connsiteX5" fmla="*/ 813600 w 3776400"/>
              <a:gd name="connsiteY5" fmla="*/ 3254398 h 3254398"/>
              <a:gd name="connsiteX6" fmla="*/ 0 w 3776400"/>
              <a:gd name="connsiteY6" fmla="*/ 1627199 h 3254398"/>
              <a:gd name="connsiteX0" fmla="*/ 0 w 3776400"/>
              <a:gd name="connsiteY0" fmla="*/ 870565 h 2497764"/>
              <a:gd name="connsiteX1" fmla="*/ 433673 w 3776400"/>
              <a:gd name="connsiteY1" fmla="*/ 3219 h 2497764"/>
              <a:gd name="connsiteX2" fmla="*/ 3342727 w 3776400"/>
              <a:gd name="connsiteY2" fmla="*/ 0 h 2497764"/>
              <a:gd name="connsiteX3" fmla="*/ 3776400 w 3776400"/>
              <a:gd name="connsiteY3" fmla="*/ 870565 h 2497764"/>
              <a:gd name="connsiteX4" fmla="*/ 2962800 w 3776400"/>
              <a:gd name="connsiteY4" fmla="*/ 2497764 h 2497764"/>
              <a:gd name="connsiteX5" fmla="*/ 813600 w 3776400"/>
              <a:gd name="connsiteY5" fmla="*/ 2497764 h 2497764"/>
              <a:gd name="connsiteX6" fmla="*/ 0 w 3776400"/>
              <a:gd name="connsiteY6" fmla="*/ 870565 h 2497764"/>
              <a:gd name="connsiteX0" fmla="*/ 0 w 3776400"/>
              <a:gd name="connsiteY0" fmla="*/ 899543 h 2526742"/>
              <a:gd name="connsiteX1" fmla="*/ 449771 w 3776400"/>
              <a:gd name="connsiteY1" fmla="*/ 0 h 2526742"/>
              <a:gd name="connsiteX2" fmla="*/ 3342727 w 3776400"/>
              <a:gd name="connsiteY2" fmla="*/ 28978 h 2526742"/>
              <a:gd name="connsiteX3" fmla="*/ 3776400 w 3776400"/>
              <a:gd name="connsiteY3" fmla="*/ 899543 h 2526742"/>
              <a:gd name="connsiteX4" fmla="*/ 2962800 w 3776400"/>
              <a:gd name="connsiteY4" fmla="*/ 2526742 h 2526742"/>
              <a:gd name="connsiteX5" fmla="*/ 813600 w 3776400"/>
              <a:gd name="connsiteY5" fmla="*/ 2526742 h 2526742"/>
              <a:gd name="connsiteX6" fmla="*/ 0 w 3776400"/>
              <a:gd name="connsiteY6" fmla="*/ 899543 h 2526742"/>
              <a:gd name="connsiteX0" fmla="*/ 0 w 3776400"/>
              <a:gd name="connsiteY0" fmla="*/ 870565 h 2497764"/>
              <a:gd name="connsiteX1" fmla="*/ 433673 w 3776400"/>
              <a:gd name="connsiteY1" fmla="*/ 0 h 2497764"/>
              <a:gd name="connsiteX2" fmla="*/ 3342727 w 3776400"/>
              <a:gd name="connsiteY2" fmla="*/ 0 h 2497764"/>
              <a:gd name="connsiteX3" fmla="*/ 3776400 w 3776400"/>
              <a:gd name="connsiteY3" fmla="*/ 870565 h 2497764"/>
              <a:gd name="connsiteX4" fmla="*/ 2962800 w 3776400"/>
              <a:gd name="connsiteY4" fmla="*/ 2497764 h 2497764"/>
              <a:gd name="connsiteX5" fmla="*/ 813600 w 3776400"/>
              <a:gd name="connsiteY5" fmla="*/ 2497764 h 2497764"/>
              <a:gd name="connsiteX6" fmla="*/ 0 w 3776400"/>
              <a:gd name="connsiteY6" fmla="*/ 870565 h 2497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76400" h="2497764">
                <a:moveTo>
                  <a:pt x="0" y="870565"/>
                </a:moveTo>
                <a:lnTo>
                  <a:pt x="433673" y="0"/>
                </a:lnTo>
                <a:lnTo>
                  <a:pt x="3342727" y="0"/>
                </a:lnTo>
                <a:lnTo>
                  <a:pt x="3776400" y="870565"/>
                </a:lnTo>
                <a:lnTo>
                  <a:pt x="2962800" y="2497764"/>
                </a:lnTo>
                <a:lnTo>
                  <a:pt x="813600" y="2497764"/>
                </a:lnTo>
                <a:lnTo>
                  <a:pt x="0" y="870565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algn="ctr"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Picture Placeholder 16">
            <a:extLst>
              <a:ext uri="{FF2B5EF4-FFF2-40B4-BE49-F238E27FC236}">
                <a16:creationId xmlns:a16="http://schemas.microsoft.com/office/drawing/2014/main" id="{BA16AB5A-0872-B644-BAF2-211B693E790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792803" y="2650075"/>
            <a:ext cx="3776400" cy="3254400"/>
          </a:xfrm>
          <a:prstGeom prst="hexagon">
            <a:avLst/>
          </a:prstGeom>
          <a:noFill/>
        </p:spPr>
        <p:txBody>
          <a:bodyPr wrap="square">
            <a:noAutofit/>
          </a:bodyPr>
          <a:lstStyle>
            <a:lvl1pPr algn="ctr"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icture Placeholder 18">
            <a:extLst>
              <a:ext uri="{FF2B5EF4-FFF2-40B4-BE49-F238E27FC236}">
                <a16:creationId xmlns:a16="http://schemas.microsoft.com/office/drawing/2014/main" id="{FE9B4D8E-4FD2-5D45-B90D-10BD2C1DFB4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895924" y="942666"/>
            <a:ext cx="2295491" cy="3254398"/>
          </a:xfrm>
          <a:custGeom>
            <a:avLst/>
            <a:gdLst>
              <a:gd name="connsiteX0" fmla="*/ 0 w 3776400"/>
              <a:gd name="connsiteY0" fmla="*/ 1627200 h 3254400"/>
              <a:gd name="connsiteX1" fmla="*/ 813600 w 3776400"/>
              <a:gd name="connsiteY1" fmla="*/ 1 h 3254400"/>
              <a:gd name="connsiteX2" fmla="*/ 2962800 w 3776400"/>
              <a:gd name="connsiteY2" fmla="*/ 1 h 3254400"/>
              <a:gd name="connsiteX3" fmla="*/ 3776400 w 3776400"/>
              <a:gd name="connsiteY3" fmla="*/ 1627200 h 3254400"/>
              <a:gd name="connsiteX4" fmla="*/ 2962800 w 3776400"/>
              <a:gd name="connsiteY4" fmla="*/ 3254399 h 3254400"/>
              <a:gd name="connsiteX5" fmla="*/ 813600 w 3776400"/>
              <a:gd name="connsiteY5" fmla="*/ 3254399 h 3254400"/>
              <a:gd name="connsiteX6" fmla="*/ 0 w 3776400"/>
              <a:gd name="connsiteY6" fmla="*/ 1627200 h 3254400"/>
              <a:gd name="connsiteX0" fmla="*/ 0 w 3776400"/>
              <a:gd name="connsiteY0" fmla="*/ 1627199 h 3254398"/>
              <a:gd name="connsiteX1" fmla="*/ 813600 w 3776400"/>
              <a:gd name="connsiteY1" fmla="*/ 0 h 3254398"/>
              <a:gd name="connsiteX2" fmla="*/ 2291514 w 3776400"/>
              <a:gd name="connsiteY2" fmla="*/ 0 h 3254398"/>
              <a:gd name="connsiteX3" fmla="*/ 3776400 w 3776400"/>
              <a:gd name="connsiteY3" fmla="*/ 1627199 h 3254398"/>
              <a:gd name="connsiteX4" fmla="*/ 2962800 w 3776400"/>
              <a:gd name="connsiteY4" fmla="*/ 3254398 h 3254398"/>
              <a:gd name="connsiteX5" fmla="*/ 813600 w 3776400"/>
              <a:gd name="connsiteY5" fmla="*/ 3254398 h 3254398"/>
              <a:gd name="connsiteX6" fmla="*/ 0 w 3776400"/>
              <a:gd name="connsiteY6" fmla="*/ 1627199 h 3254398"/>
              <a:gd name="connsiteX0" fmla="*/ 0 w 3776400"/>
              <a:gd name="connsiteY0" fmla="*/ 1627199 h 3254398"/>
              <a:gd name="connsiteX1" fmla="*/ 813600 w 3776400"/>
              <a:gd name="connsiteY1" fmla="*/ 0 h 3254398"/>
              <a:gd name="connsiteX2" fmla="*/ 2291514 w 3776400"/>
              <a:gd name="connsiteY2" fmla="*/ 0 h 3254398"/>
              <a:gd name="connsiteX3" fmla="*/ 3776400 w 3776400"/>
              <a:gd name="connsiteY3" fmla="*/ 1627199 h 3254398"/>
              <a:gd name="connsiteX4" fmla="*/ 2295142 w 3776400"/>
              <a:gd name="connsiteY4" fmla="*/ 3254398 h 3254398"/>
              <a:gd name="connsiteX5" fmla="*/ 813600 w 3776400"/>
              <a:gd name="connsiteY5" fmla="*/ 3254398 h 3254398"/>
              <a:gd name="connsiteX6" fmla="*/ 0 w 3776400"/>
              <a:gd name="connsiteY6" fmla="*/ 1627199 h 3254398"/>
              <a:gd name="connsiteX0" fmla="*/ 0 w 2295142"/>
              <a:gd name="connsiteY0" fmla="*/ 1627199 h 3254398"/>
              <a:gd name="connsiteX1" fmla="*/ 813600 w 2295142"/>
              <a:gd name="connsiteY1" fmla="*/ 0 h 3254398"/>
              <a:gd name="connsiteX2" fmla="*/ 2291514 w 2295142"/>
              <a:gd name="connsiteY2" fmla="*/ 0 h 3254398"/>
              <a:gd name="connsiteX3" fmla="*/ 2295142 w 2295142"/>
              <a:gd name="connsiteY3" fmla="*/ 3254398 h 3254398"/>
              <a:gd name="connsiteX4" fmla="*/ 813600 w 2295142"/>
              <a:gd name="connsiteY4" fmla="*/ 3254398 h 3254398"/>
              <a:gd name="connsiteX5" fmla="*/ 0 w 2295142"/>
              <a:gd name="connsiteY5" fmla="*/ 1627199 h 3254398"/>
              <a:gd name="connsiteX0" fmla="*/ 0 w 2465691"/>
              <a:gd name="connsiteY0" fmla="*/ 1627199 h 3254398"/>
              <a:gd name="connsiteX1" fmla="*/ 813600 w 2465691"/>
              <a:gd name="connsiteY1" fmla="*/ 0 h 3254398"/>
              <a:gd name="connsiteX2" fmla="*/ 2465685 w 2465691"/>
              <a:gd name="connsiteY2" fmla="*/ 0 h 3254398"/>
              <a:gd name="connsiteX3" fmla="*/ 2295142 w 2465691"/>
              <a:gd name="connsiteY3" fmla="*/ 3254398 h 3254398"/>
              <a:gd name="connsiteX4" fmla="*/ 813600 w 2465691"/>
              <a:gd name="connsiteY4" fmla="*/ 3254398 h 3254398"/>
              <a:gd name="connsiteX5" fmla="*/ 0 w 2465691"/>
              <a:gd name="connsiteY5" fmla="*/ 1627199 h 3254398"/>
              <a:gd name="connsiteX0" fmla="*/ 0 w 2295491"/>
              <a:gd name="connsiteY0" fmla="*/ 1627199 h 3254398"/>
              <a:gd name="connsiteX1" fmla="*/ 813600 w 2295491"/>
              <a:gd name="connsiteY1" fmla="*/ 0 h 3254398"/>
              <a:gd name="connsiteX2" fmla="*/ 2295142 w 2295491"/>
              <a:gd name="connsiteY2" fmla="*/ 0 h 3254398"/>
              <a:gd name="connsiteX3" fmla="*/ 2295142 w 2295491"/>
              <a:gd name="connsiteY3" fmla="*/ 3254398 h 3254398"/>
              <a:gd name="connsiteX4" fmla="*/ 813600 w 2295491"/>
              <a:gd name="connsiteY4" fmla="*/ 3254398 h 3254398"/>
              <a:gd name="connsiteX5" fmla="*/ 0 w 2295491"/>
              <a:gd name="connsiteY5" fmla="*/ 1627199 h 3254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95491" h="3254398">
                <a:moveTo>
                  <a:pt x="0" y="1627199"/>
                </a:moveTo>
                <a:lnTo>
                  <a:pt x="813600" y="0"/>
                </a:lnTo>
                <a:lnTo>
                  <a:pt x="2295142" y="0"/>
                </a:lnTo>
                <a:cubicBezTo>
                  <a:pt x="2296351" y="1084799"/>
                  <a:pt x="2293933" y="2169599"/>
                  <a:pt x="2295142" y="3254398"/>
                </a:cubicBezTo>
                <a:lnTo>
                  <a:pt x="813600" y="3254398"/>
                </a:lnTo>
                <a:lnTo>
                  <a:pt x="0" y="1627199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algn="ctr"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Picture Placeholder 15">
            <a:extLst>
              <a:ext uri="{FF2B5EF4-FFF2-40B4-BE49-F238E27FC236}">
                <a16:creationId xmlns:a16="http://schemas.microsoft.com/office/drawing/2014/main" id="{1F7678D3-755A-024B-BFE9-7879A2C71E8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689682" y="4348583"/>
            <a:ext cx="3776400" cy="2511448"/>
          </a:xfrm>
          <a:custGeom>
            <a:avLst/>
            <a:gdLst>
              <a:gd name="connsiteX0" fmla="*/ 0 w 3776400"/>
              <a:gd name="connsiteY0" fmla="*/ 1627200 h 3254400"/>
              <a:gd name="connsiteX1" fmla="*/ 813600 w 3776400"/>
              <a:gd name="connsiteY1" fmla="*/ 1 h 3254400"/>
              <a:gd name="connsiteX2" fmla="*/ 2962800 w 3776400"/>
              <a:gd name="connsiteY2" fmla="*/ 1 h 3254400"/>
              <a:gd name="connsiteX3" fmla="*/ 3776400 w 3776400"/>
              <a:gd name="connsiteY3" fmla="*/ 1627200 h 3254400"/>
              <a:gd name="connsiteX4" fmla="*/ 2962800 w 3776400"/>
              <a:gd name="connsiteY4" fmla="*/ 3254399 h 3254400"/>
              <a:gd name="connsiteX5" fmla="*/ 813600 w 3776400"/>
              <a:gd name="connsiteY5" fmla="*/ 3254399 h 3254400"/>
              <a:gd name="connsiteX6" fmla="*/ 0 w 3776400"/>
              <a:gd name="connsiteY6" fmla="*/ 1627200 h 3254400"/>
              <a:gd name="connsiteX0" fmla="*/ 0 w 3776400"/>
              <a:gd name="connsiteY0" fmla="*/ 1627199 h 3254398"/>
              <a:gd name="connsiteX1" fmla="*/ 813600 w 3776400"/>
              <a:gd name="connsiteY1" fmla="*/ 0 h 3254398"/>
              <a:gd name="connsiteX2" fmla="*/ 2962800 w 3776400"/>
              <a:gd name="connsiteY2" fmla="*/ 0 h 3254398"/>
              <a:gd name="connsiteX3" fmla="*/ 3776400 w 3776400"/>
              <a:gd name="connsiteY3" fmla="*/ 1627199 h 3254398"/>
              <a:gd name="connsiteX4" fmla="*/ 2962800 w 3776400"/>
              <a:gd name="connsiteY4" fmla="*/ 3254398 h 3254398"/>
              <a:gd name="connsiteX5" fmla="*/ 442125 w 3776400"/>
              <a:gd name="connsiteY5" fmla="*/ 2511448 h 3254398"/>
              <a:gd name="connsiteX6" fmla="*/ 0 w 3776400"/>
              <a:gd name="connsiteY6" fmla="*/ 1627199 h 3254398"/>
              <a:gd name="connsiteX0" fmla="*/ 0 w 3776400"/>
              <a:gd name="connsiteY0" fmla="*/ 1627199 h 2511448"/>
              <a:gd name="connsiteX1" fmla="*/ 813600 w 3776400"/>
              <a:gd name="connsiteY1" fmla="*/ 0 h 2511448"/>
              <a:gd name="connsiteX2" fmla="*/ 2962800 w 3776400"/>
              <a:gd name="connsiteY2" fmla="*/ 0 h 2511448"/>
              <a:gd name="connsiteX3" fmla="*/ 3776400 w 3776400"/>
              <a:gd name="connsiteY3" fmla="*/ 1627199 h 2511448"/>
              <a:gd name="connsiteX4" fmla="*/ 3331100 w 3776400"/>
              <a:gd name="connsiteY4" fmla="*/ 2511448 h 2511448"/>
              <a:gd name="connsiteX5" fmla="*/ 442125 w 3776400"/>
              <a:gd name="connsiteY5" fmla="*/ 2511448 h 2511448"/>
              <a:gd name="connsiteX6" fmla="*/ 0 w 3776400"/>
              <a:gd name="connsiteY6" fmla="*/ 1627199 h 2511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76400" h="2511448">
                <a:moveTo>
                  <a:pt x="0" y="1627199"/>
                </a:moveTo>
                <a:lnTo>
                  <a:pt x="813600" y="0"/>
                </a:lnTo>
                <a:lnTo>
                  <a:pt x="2962800" y="0"/>
                </a:lnTo>
                <a:lnTo>
                  <a:pt x="3776400" y="1627199"/>
                </a:lnTo>
                <a:lnTo>
                  <a:pt x="3331100" y="2511448"/>
                </a:lnTo>
                <a:lnTo>
                  <a:pt x="442125" y="2511448"/>
                </a:lnTo>
                <a:lnTo>
                  <a:pt x="0" y="1627199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algn="ctr"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Picture Placeholder 18">
            <a:extLst>
              <a:ext uri="{FF2B5EF4-FFF2-40B4-BE49-F238E27FC236}">
                <a16:creationId xmlns:a16="http://schemas.microsoft.com/office/drawing/2014/main" id="{08A3C9FF-D6AE-544B-BA34-67ECF61CC3B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895923" y="4348582"/>
            <a:ext cx="2295491" cy="2511397"/>
          </a:xfrm>
          <a:custGeom>
            <a:avLst/>
            <a:gdLst>
              <a:gd name="connsiteX0" fmla="*/ 0 w 3776400"/>
              <a:gd name="connsiteY0" fmla="*/ 1627200 h 3254400"/>
              <a:gd name="connsiteX1" fmla="*/ 813600 w 3776400"/>
              <a:gd name="connsiteY1" fmla="*/ 1 h 3254400"/>
              <a:gd name="connsiteX2" fmla="*/ 2962800 w 3776400"/>
              <a:gd name="connsiteY2" fmla="*/ 1 h 3254400"/>
              <a:gd name="connsiteX3" fmla="*/ 3776400 w 3776400"/>
              <a:gd name="connsiteY3" fmla="*/ 1627200 h 3254400"/>
              <a:gd name="connsiteX4" fmla="*/ 2962800 w 3776400"/>
              <a:gd name="connsiteY4" fmla="*/ 3254399 h 3254400"/>
              <a:gd name="connsiteX5" fmla="*/ 813600 w 3776400"/>
              <a:gd name="connsiteY5" fmla="*/ 3254399 h 3254400"/>
              <a:gd name="connsiteX6" fmla="*/ 0 w 3776400"/>
              <a:gd name="connsiteY6" fmla="*/ 1627200 h 3254400"/>
              <a:gd name="connsiteX0" fmla="*/ 0 w 3776400"/>
              <a:gd name="connsiteY0" fmla="*/ 1627199 h 3254398"/>
              <a:gd name="connsiteX1" fmla="*/ 813600 w 3776400"/>
              <a:gd name="connsiteY1" fmla="*/ 0 h 3254398"/>
              <a:gd name="connsiteX2" fmla="*/ 2291514 w 3776400"/>
              <a:gd name="connsiteY2" fmla="*/ 0 h 3254398"/>
              <a:gd name="connsiteX3" fmla="*/ 3776400 w 3776400"/>
              <a:gd name="connsiteY3" fmla="*/ 1627199 h 3254398"/>
              <a:gd name="connsiteX4" fmla="*/ 2962800 w 3776400"/>
              <a:gd name="connsiteY4" fmla="*/ 3254398 h 3254398"/>
              <a:gd name="connsiteX5" fmla="*/ 813600 w 3776400"/>
              <a:gd name="connsiteY5" fmla="*/ 3254398 h 3254398"/>
              <a:gd name="connsiteX6" fmla="*/ 0 w 3776400"/>
              <a:gd name="connsiteY6" fmla="*/ 1627199 h 3254398"/>
              <a:gd name="connsiteX0" fmla="*/ 0 w 3776400"/>
              <a:gd name="connsiteY0" fmla="*/ 1627199 h 3254398"/>
              <a:gd name="connsiteX1" fmla="*/ 813600 w 3776400"/>
              <a:gd name="connsiteY1" fmla="*/ 0 h 3254398"/>
              <a:gd name="connsiteX2" fmla="*/ 2291514 w 3776400"/>
              <a:gd name="connsiteY2" fmla="*/ 0 h 3254398"/>
              <a:gd name="connsiteX3" fmla="*/ 3776400 w 3776400"/>
              <a:gd name="connsiteY3" fmla="*/ 1627199 h 3254398"/>
              <a:gd name="connsiteX4" fmla="*/ 2295142 w 3776400"/>
              <a:gd name="connsiteY4" fmla="*/ 3254398 h 3254398"/>
              <a:gd name="connsiteX5" fmla="*/ 813600 w 3776400"/>
              <a:gd name="connsiteY5" fmla="*/ 3254398 h 3254398"/>
              <a:gd name="connsiteX6" fmla="*/ 0 w 3776400"/>
              <a:gd name="connsiteY6" fmla="*/ 1627199 h 3254398"/>
              <a:gd name="connsiteX0" fmla="*/ 0 w 2295142"/>
              <a:gd name="connsiteY0" fmla="*/ 1627199 h 3254398"/>
              <a:gd name="connsiteX1" fmla="*/ 813600 w 2295142"/>
              <a:gd name="connsiteY1" fmla="*/ 0 h 3254398"/>
              <a:gd name="connsiteX2" fmla="*/ 2291514 w 2295142"/>
              <a:gd name="connsiteY2" fmla="*/ 0 h 3254398"/>
              <a:gd name="connsiteX3" fmla="*/ 2295142 w 2295142"/>
              <a:gd name="connsiteY3" fmla="*/ 3254398 h 3254398"/>
              <a:gd name="connsiteX4" fmla="*/ 813600 w 2295142"/>
              <a:gd name="connsiteY4" fmla="*/ 3254398 h 3254398"/>
              <a:gd name="connsiteX5" fmla="*/ 0 w 2295142"/>
              <a:gd name="connsiteY5" fmla="*/ 1627199 h 3254398"/>
              <a:gd name="connsiteX0" fmla="*/ 0 w 2465691"/>
              <a:gd name="connsiteY0" fmla="*/ 1627199 h 3254398"/>
              <a:gd name="connsiteX1" fmla="*/ 813600 w 2465691"/>
              <a:gd name="connsiteY1" fmla="*/ 0 h 3254398"/>
              <a:gd name="connsiteX2" fmla="*/ 2465685 w 2465691"/>
              <a:gd name="connsiteY2" fmla="*/ 0 h 3254398"/>
              <a:gd name="connsiteX3" fmla="*/ 2295142 w 2465691"/>
              <a:gd name="connsiteY3" fmla="*/ 3254398 h 3254398"/>
              <a:gd name="connsiteX4" fmla="*/ 813600 w 2465691"/>
              <a:gd name="connsiteY4" fmla="*/ 3254398 h 3254398"/>
              <a:gd name="connsiteX5" fmla="*/ 0 w 2465691"/>
              <a:gd name="connsiteY5" fmla="*/ 1627199 h 3254398"/>
              <a:gd name="connsiteX0" fmla="*/ 0 w 2295491"/>
              <a:gd name="connsiteY0" fmla="*/ 1627199 h 3254398"/>
              <a:gd name="connsiteX1" fmla="*/ 813600 w 2295491"/>
              <a:gd name="connsiteY1" fmla="*/ 0 h 3254398"/>
              <a:gd name="connsiteX2" fmla="*/ 2295142 w 2295491"/>
              <a:gd name="connsiteY2" fmla="*/ 0 h 3254398"/>
              <a:gd name="connsiteX3" fmla="*/ 2295142 w 2295491"/>
              <a:gd name="connsiteY3" fmla="*/ 3254398 h 3254398"/>
              <a:gd name="connsiteX4" fmla="*/ 813600 w 2295491"/>
              <a:gd name="connsiteY4" fmla="*/ 3254398 h 3254398"/>
              <a:gd name="connsiteX5" fmla="*/ 0 w 2295491"/>
              <a:gd name="connsiteY5" fmla="*/ 1627199 h 3254398"/>
              <a:gd name="connsiteX0" fmla="*/ 0 w 2295491"/>
              <a:gd name="connsiteY0" fmla="*/ 1627199 h 3254398"/>
              <a:gd name="connsiteX1" fmla="*/ 813600 w 2295491"/>
              <a:gd name="connsiteY1" fmla="*/ 0 h 3254398"/>
              <a:gd name="connsiteX2" fmla="*/ 2295142 w 2295491"/>
              <a:gd name="connsiteY2" fmla="*/ 0 h 3254398"/>
              <a:gd name="connsiteX3" fmla="*/ 2295142 w 2295491"/>
              <a:gd name="connsiteY3" fmla="*/ 3254398 h 3254398"/>
              <a:gd name="connsiteX4" fmla="*/ 446862 w 2295491"/>
              <a:gd name="connsiteY4" fmla="*/ 2520922 h 3254398"/>
              <a:gd name="connsiteX5" fmla="*/ 0 w 2295491"/>
              <a:gd name="connsiteY5" fmla="*/ 1627199 h 3254398"/>
              <a:gd name="connsiteX0" fmla="*/ 0 w 2295491"/>
              <a:gd name="connsiteY0" fmla="*/ 1627199 h 2520922"/>
              <a:gd name="connsiteX1" fmla="*/ 813600 w 2295491"/>
              <a:gd name="connsiteY1" fmla="*/ 0 h 2520922"/>
              <a:gd name="connsiteX2" fmla="*/ 2295142 w 2295491"/>
              <a:gd name="connsiteY2" fmla="*/ 0 h 2520922"/>
              <a:gd name="connsiteX3" fmla="*/ 2295142 w 2295491"/>
              <a:gd name="connsiteY3" fmla="*/ 2511142 h 2520922"/>
              <a:gd name="connsiteX4" fmla="*/ 446862 w 2295491"/>
              <a:gd name="connsiteY4" fmla="*/ 2520922 h 2520922"/>
              <a:gd name="connsiteX5" fmla="*/ 0 w 2295491"/>
              <a:gd name="connsiteY5" fmla="*/ 1627199 h 2520922"/>
              <a:gd name="connsiteX0" fmla="*/ 0 w 2295491"/>
              <a:gd name="connsiteY0" fmla="*/ 1627199 h 2590772"/>
              <a:gd name="connsiteX1" fmla="*/ 813600 w 2295491"/>
              <a:gd name="connsiteY1" fmla="*/ 0 h 2590772"/>
              <a:gd name="connsiteX2" fmla="*/ 2295142 w 2295491"/>
              <a:gd name="connsiteY2" fmla="*/ 0 h 2590772"/>
              <a:gd name="connsiteX3" fmla="*/ 2295142 w 2295491"/>
              <a:gd name="connsiteY3" fmla="*/ 2511142 h 2590772"/>
              <a:gd name="connsiteX4" fmla="*/ 481787 w 2295491"/>
              <a:gd name="connsiteY4" fmla="*/ 2590772 h 2590772"/>
              <a:gd name="connsiteX5" fmla="*/ 0 w 2295491"/>
              <a:gd name="connsiteY5" fmla="*/ 1627199 h 2590772"/>
              <a:gd name="connsiteX0" fmla="*/ 0 w 2295491"/>
              <a:gd name="connsiteY0" fmla="*/ 1627199 h 2511142"/>
              <a:gd name="connsiteX1" fmla="*/ 813600 w 2295491"/>
              <a:gd name="connsiteY1" fmla="*/ 0 h 2511142"/>
              <a:gd name="connsiteX2" fmla="*/ 2295142 w 2295491"/>
              <a:gd name="connsiteY2" fmla="*/ 0 h 2511142"/>
              <a:gd name="connsiteX3" fmla="*/ 2295142 w 2295491"/>
              <a:gd name="connsiteY3" fmla="*/ 2511142 h 2511142"/>
              <a:gd name="connsiteX4" fmla="*/ 440512 w 2295491"/>
              <a:gd name="connsiteY4" fmla="*/ 2508222 h 2511142"/>
              <a:gd name="connsiteX5" fmla="*/ 0 w 2295491"/>
              <a:gd name="connsiteY5" fmla="*/ 1627199 h 2511142"/>
              <a:gd name="connsiteX0" fmla="*/ 0 w 2295491"/>
              <a:gd name="connsiteY0" fmla="*/ 1627199 h 2511142"/>
              <a:gd name="connsiteX1" fmla="*/ 813600 w 2295491"/>
              <a:gd name="connsiteY1" fmla="*/ 0 h 2511142"/>
              <a:gd name="connsiteX2" fmla="*/ 2295142 w 2295491"/>
              <a:gd name="connsiteY2" fmla="*/ 0 h 2511142"/>
              <a:gd name="connsiteX3" fmla="*/ 2295142 w 2295491"/>
              <a:gd name="connsiteY3" fmla="*/ 2511142 h 2511142"/>
              <a:gd name="connsiteX4" fmla="*/ 440512 w 2295491"/>
              <a:gd name="connsiteY4" fmla="*/ 2508222 h 2511142"/>
              <a:gd name="connsiteX5" fmla="*/ 0 w 2295491"/>
              <a:gd name="connsiteY5" fmla="*/ 1627199 h 2511142"/>
              <a:gd name="connsiteX0" fmla="*/ 0 w 2295491"/>
              <a:gd name="connsiteY0" fmla="*/ 1627199 h 2520922"/>
              <a:gd name="connsiteX1" fmla="*/ 813600 w 2295491"/>
              <a:gd name="connsiteY1" fmla="*/ 0 h 2520922"/>
              <a:gd name="connsiteX2" fmla="*/ 2295142 w 2295491"/>
              <a:gd name="connsiteY2" fmla="*/ 0 h 2520922"/>
              <a:gd name="connsiteX3" fmla="*/ 2295142 w 2295491"/>
              <a:gd name="connsiteY3" fmla="*/ 2511142 h 2520922"/>
              <a:gd name="connsiteX4" fmla="*/ 443687 w 2295491"/>
              <a:gd name="connsiteY4" fmla="*/ 2520922 h 2520922"/>
              <a:gd name="connsiteX5" fmla="*/ 0 w 2295491"/>
              <a:gd name="connsiteY5" fmla="*/ 1627199 h 2520922"/>
              <a:gd name="connsiteX0" fmla="*/ 0 w 2295491"/>
              <a:gd name="connsiteY0" fmla="*/ 1627199 h 2511397"/>
              <a:gd name="connsiteX1" fmla="*/ 813600 w 2295491"/>
              <a:gd name="connsiteY1" fmla="*/ 0 h 2511397"/>
              <a:gd name="connsiteX2" fmla="*/ 2295142 w 2295491"/>
              <a:gd name="connsiteY2" fmla="*/ 0 h 2511397"/>
              <a:gd name="connsiteX3" fmla="*/ 2295142 w 2295491"/>
              <a:gd name="connsiteY3" fmla="*/ 2511142 h 2511397"/>
              <a:gd name="connsiteX4" fmla="*/ 437337 w 2295491"/>
              <a:gd name="connsiteY4" fmla="*/ 2511397 h 2511397"/>
              <a:gd name="connsiteX5" fmla="*/ 0 w 2295491"/>
              <a:gd name="connsiteY5" fmla="*/ 1627199 h 2511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95491" h="2511397">
                <a:moveTo>
                  <a:pt x="0" y="1627199"/>
                </a:moveTo>
                <a:lnTo>
                  <a:pt x="813600" y="0"/>
                </a:lnTo>
                <a:lnTo>
                  <a:pt x="2295142" y="0"/>
                </a:lnTo>
                <a:cubicBezTo>
                  <a:pt x="2296351" y="1084799"/>
                  <a:pt x="2293933" y="1426343"/>
                  <a:pt x="2295142" y="2511142"/>
                </a:cubicBezTo>
                <a:lnTo>
                  <a:pt x="437337" y="2511397"/>
                </a:lnTo>
                <a:lnTo>
                  <a:pt x="0" y="1627199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algn="ctr"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02434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- gradient">
    <p:bg>
      <p:bgPr>
        <a:gradFill>
          <a:gsLst>
            <a:gs pos="0">
              <a:schemeClr val="accent1"/>
            </a:gs>
            <a:gs pos="100000">
              <a:schemeClr val="accent2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5">
            <a:extLst>
              <a:ext uri="{FF2B5EF4-FFF2-40B4-BE49-F238E27FC236}">
                <a16:creationId xmlns:a16="http://schemas.microsoft.com/office/drawing/2014/main" id="{2FD57E7D-6668-C54A-89B4-0F8564ED4CC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792803" y="793"/>
            <a:ext cx="3776400" cy="2497764"/>
          </a:xfrm>
          <a:custGeom>
            <a:avLst/>
            <a:gdLst>
              <a:gd name="connsiteX0" fmla="*/ 0 w 3776400"/>
              <a:gd name="connsiteY0" fmla="*/ 1627200 h 3254400"/>
              <a:gd name="connsiteX1" fmla="*/ 813600 w 3776400"/>
              <a:gd name="connsiteY1" fmla="*/ 1 h 3254400"/>
              <a:gd name="connsiteX2" fmla="*/ 2962800 w 3776400"/>
              <a:gd name="connsiteY2" fmla="*/ 1 h 3254400"/>
              <a:gd name="connsiteX3" fmla="*/ 3776400 w 3776400"/>
              <a:gd name="connsiteY3" fmla="*/ 1627200 h 3254400"/>
              <a:gd name="connsiteX4" fmla="*/ 2962800 w 3776400"/>
              <a:gd name="connsiteY4" fmla="*/ 3254399 h 3254400"/>
              <a:gd name="connsiteX5" fmla="*/ 813600 w 3776400"/>
              <a:gd name="connsiteY5" fmla="*/ 3254399 h 3254400"/>
              <a:gd name="connsiteX6" fmla="*/ 0 w 3776400"/>
              <a:gd name="connsiteY6" fmla="*/ 1627200 h 3254400"/>
              <a:gd name="connsiteX0" fmla="*/ 0 w 3776400"/>
              <a:gd name="connsiteY0" fmla="*/ 1627199 h 3254398"/>
              <a:gd name="connsiteX1" fmla="*/ 433673 w 3776400"/>
              <a:gd name="connsiteY1" fmla="*/ 759853 h 3254398"/>
              <a:gd name="connsiteX2" fmla="*/ 2962800 w 3776400"/>
              <a:gd name="connsiteY2" fmla="*/ 0 h 3254398"/>
              <a:gd name="connsiteX3" fmla="*/ 3776400 w 3776400"/>
              <a:gd name="connsiteY3" fmla="*/ 1627199 h 3254398"/>
              <a:gd name="connsiteX4" fmla="*/ 2962800 w 3776400"/>
              <a:gd name="connsiteY4" fmla="*/ 3254398 h 3254398"/>
              <a:gd name="connsiteX5" fmla="*/ 813600 w 3776400"/>
              <a:gd name="connsiteY5" fmla="*/ 3254398 h 3254398"/>
              <a:gd name="connsiteX6" fmla="*/ 0 w 3776400"/>
              <a:gd name="connsiteY6" fmla="*/ 1627199 h 3254398"/>
              <a:gd name="connsiteX0" fmla="*/ 0 w 3776400"/>
              <a:gd name="connsiteY0" fmla="*/ 870565 h 2497764"/>
              <a:gd name="connsiteX1" fmla="*/ 433673 w 3776400"/>
              <a:gd name="connsiteY1" fmla="*/ 3219 h 2497764"/>
              <a:gd name="connsiteX2" fmla="*/ 3342727 w 3776400"/>
              <a:gd name="connsiteY2" fmla="*/ 0 h 2497764"/>
              <a:gd name="connsiteX3" fmla="*/ 3776400 w 3776400"/>
              <a:gd name="connsiteY3" fmla="*/ 870565 h 2497764"/>
              <a:gd name="connsiteX4" fmla="*/ 2962800 w 3776400"/>
              <a:gd name="connsiteY4" fmla="*/ 2497764 h 2497764"/>
              <a:gd name="connsiteX5" fmla="*/ 813600 w 3776400"/>
              <a:gd name="connsiteY5" fmla="*/ 2497764 h 2497764"/>
              <a:gd name="connsiteX6" fmla="*/ 0 w 3776400"/>
              <a:gd name="connsiteY6" fmla="*/ 870565 h 2497764"/>
              <a:gd name="connsiteX0" fmla="*/ 0 w 3776400"/>
              <a:gd name="connsiteY0" fmla="*/ 899543 h 2526742"/>
              <a:gd name="connsiteX1" fmla="*/ 449771 w 3776400"/>
              <a:gd name="connsiteY1" fmla="*/ 0 h 2526742"/>
              <a:gd name="connsiteX2" fmla="*/ 3342727 w 3776400"/>
              <a:gd name="connsiteY2" fmla="*/ 28978 h 2526742"/>
              <a:gd name="connsiteX3" fmla="*/ 3776400 w 3776400"/>
              <a:gd name="connsiteY3" fmla="*/ 899543 h 2526742"/>
              <a:gd name="connsiteX4" fmla="*/ 2962800 w 3776400"/>
              <a:gd name="connsiteY4" fmla="*/ 2526742 h 2526742"/>
              <a:gd name="connsiteX5" fmla="*/ 813600 w 3776400"/>
              <a:gd name="connsiteY5" fmla="*/ 2526742 h 2526742"/>
              <a:gd name="connsiteX6" fmla="*/ 0 w 3776400"/>
              <a:gd name="connsiteY6" fmla="*/ 899543 h 2526742"/>
              <a:gd name="connsiteX0" fmla="*/ 0 w 3776400"/>
              <a:gd name="connsiteY0" fmla="*/ 870565 h 2497764"/>
              <a:gd name="connsiteX1" fmla="*/ 433673 w 3776400"/>
              <a:gd name="connsiteY1" fmla="*/ 0 h 2497764"/>
              <a:gd name="connsiteX2" fmla="*/ 3342727 w 3776400"/>
              <a:gd name="connsiteY2" fmla="*/ 0 h 2497764"/>
              <a:gd name="connsiteX3" fmla="*/ 3776400 w 3776400"/>
              <a:gd name="connsiteY3" fmla="*/ 870565 h 2497764"/>
              <a:gd name="connsiteX4" fmla="*/ 2962800 w 3776400"/>
              <a:gd name="connsiteY4" fmla="*/ 2497764 h 2497764"/>
              <a:gd name="connsiteX5" fmla="*/ 813600 w 3776400"/>
              <a:gd name="connsiteY5" fmla="*/ 2497764 h 2497764"/>
              <a:gd name="connsiteX6" fmla="*/ 0 w 3776400"/>
              <a:gd name="connsiteY6" fmla="*/ 870565 h 2497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76400" h="2497764">
                <a:moveTo>
                  <a:pt x="0" y="870565"/>
                </a:moveTo>
                <a:lnTo>
                  <a:pt x="433673" y="0"/>
                </a:lnTo>
                <a:lnTo>
                  <a:pt x="3342727" y="0"/>
                </a:lnTo>
                <a:lnTo>
                  <a:pt x="3776400" y="870565"/>
                </a:lnTo>
                <a:lnTo>
                  <a:pt x="2962800" y="2497764"/>
                </a:lnTo>
                <a:lnTo>
                  <a:pt x="813600" y="2497764"/>
                </a:lnTo>
                <a:lnTo>
                  <a:pt x="0" y="870565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algn="ctr"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Picture Placeholder 16">
            <a:extLst>
              <a:ext uri="{FF2B5EF4-FFF2-40B4-BE49-F238E27FC236}">
                <a16:creationId xmlns:a16="http://schemas.microsoft.com/office/drawing/2014/main" id="{348D664E-9DBE-774D-81D2-7DA76611873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792803" y="2650075"/>
            <a:ext cx="3776400" cy="3254400"/>
          </a:xfrm>
          <a:prstGeom prst="hexagon">
            <a:avLst/>
          </a:prstGeom>
          <a:noFill/>
        </p:spPr>
        <p:txBody>
          <a:bodyPr wrap="square">
            <a:noAutofit/>
          </a:bodyPr>
          <a:lstStyle>
            <a:lvl1pPr algn="ctr"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icture Placeholder 18">
            <a:extLst>
              <a:ext uri="{FF2B5EF4-FFF2-40B4-BE49-F238E27FC236}">
                <a16:creationId xmlns:a16="http://schemas.microsoft.com/office/drawing/2014/main" id="{51CCCB71-623A-DC43-BF4A-B42ECCCE8A9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895924" y="942666"/>
            <a:ext cx="2295491" cy="3254398"/>
          </a:xfrm>
          <a:custGeom>
            <a:avLst/>
            <a:gdLst>
              <a:gd name="connsiteX0" fmla="*/ 0 w 3776400"/>
              <a:gd name="connsiteY0" fmla="*/ 1627200 h 3254400"/>
              <a:gd name="connsiteX1" fmla="*/ 813600 w 3776400"/>
              <a:gd name="connsiteY1" fmla="*/ 1 h 3254400"/>
              <a:gd name="connsiteX2" fmla="*/ 2962800 w 3776400"/>
              <a:gd name="connsiteY2" fmla="*/ 1 h 3254400"/>
              <a:gd name="connsiteX3" fmla="*/ 3776400 w 3776400"/>
              <a:gd name="connsiteY3" fmla="*/ 1627200 h 3254400"/>
              <a:gd name="connsiteX4" fmla="*/ 2962800 w 3776400"/>
              <a:gd name="connsiteY4" fmla="*/ 3254399 h 3254400"/>
              <a:gd name="connsiteX5" fmla="*/ 813600 w 3776400"/>
              <a:gd name="connsiteY5" fmla="*/ 3254399 h 3254400"/>
              <a:gd name="connsiteX6" fmla="*/ 0 w 3776400"/>
              <a:gd name="connsiteY6" fmla="*/ 1627200 h 3254400"/>
              <a:gd name="connsiteX0" fmla="*/ 0 w 3776400"/>
              <a:gd name="connsiteY0" fmla="*/ 1627199 h 3254398"/>
              <a:gd name="connsiteX1" fmla="*/ 813600 w 3776400"/>
              <a:gd name="connsiteY1" fmla="*/ 0 h 3254398"/>
              <a:gd name="connsiteX2" fmla="*/ 2291514 w 3776400"/>
              <a:gd name="connsiteY2" fmla="*/ 0 h 3254398"/>
              <a:gd name="connsiteX3" fmla="*/ 3776400 w 3776400"/>
              <a:gd name="connsiteY3" fmla="*/ 1627199 h 3254398"/>
              <a:gd name="connsiteX4" fmla="*/ 2962800 w 3776400"/>
              <a:gd name="connsiteY4" fmla="*/ 3254398 h 3254398"/>
              <a:gd name="connsiteX5" fmla="*/ 813600 w 3776400"/>
              <a:gd name="connsiteY5" fmla="*/ 3254398 h 3254398"/>
              <a:gd name="connsiteX6" fmla="*/ 0 w 3776400"/>
              <a:gd name="connsiteY6" fmla="*/ 1627199 h 3254398"/>
              <a:gd name="connsiteX0" fmla="*/ 0 w 3776400"/>
              <a:gd name="connsiteY0" fmla="*/ 1627199 h 3254398"/>
              <a:gd name="connsiteX1" fmla="*/ 813600 w 3776400"/>
              <a:gd name="connsiteY1" fmla="*/ 0 h 3254398"/>
              <a:gd name="connsiteX2" fmla="*/ 2291514 w 3776400"/>
              <a:gd name="connsiteY2" fmla="*/ 0 h 3254398"/>
              <a:gd name="connsiteX3" fmla="*/ 3776400 w 3776400"/>
              <a:gd name="connsiteY3" fmla="*/ 1627199 h 3254398"/>
              <a:gd name="connsiteX4" fmla="*/ 2295142 w 3776400"/>
              <a:gd name="connsiteY4" fmla="*/ 3254398 h 3254398"/>
              <a:gd name="connsiteX5" fmla="*/ 813600 w 3776400"/>
              <a:gd name="connsiteY5" fmla="*/ 3254398 h 3254398"/>
              <a:gd name="connsiteX6" fmla="*/ 0 w 3776400"/>
              <a:gd name="connsiteY6" fmla="*/ 1627199 h 3254398"/>
              <a:gd name="connsiteX0" fmla="*/ 0 w 2295142"/>
              <a:gd name="connsiteY0" fmla="*/ 1627199 h 3254398"/>
              <a:gd name="connsiteX1" fmla="*/ 813600 w 2295142"/>
              <a:gd name="connsiteY1" fmla="*/ 0 h 3254398"/>
              <a:gd name="connsiteX2" fmla="*/ 2291514 w 2295142"/>
              <a:gd name="connsiteY2" fmla="*/ 0 h 3254398"/>
              <a:gd name="connsiteX3" fmla="*/ 2295142 w 2295142"/>
              <a:gd name="connsiteY3" fmla="*/ 3254398 h 3254398"/>
              <a:gd name="connsiteX4" fmla="*/ 813600 w 2295142"/>
              <a:gd name="connsiteY4" fmla="*/ 3254398 h 3254398"/>
              <a:gd name="connsiteX5" fmla="*/ 0 w 2295142"/>
              <a:gd name="connsiteY5" fmla="*/ 1627199 h 3254398"/>
              <a:gd name="connsiteX0" fmla="*/ 0 w 2465691"/>
              <a:gd name="connsiteY0" fmla="*/ 1627199 h 3254398"/>
              <a:gd name="connsiteX1" fmla="*/ 813600 w 2465691"/>
              <a:gd name="connsiteY1" fmla="*/ 0 h 3254398"/>
              <a:gd name="connsiteX2" fmla="*/ 2465685 w 2465691"/>
              <a:gd name="connsiteY2" fmla="*/ 0 h 3254398"/>
              <a:gd name="connsiteX3" fmla="*/ 2295142 w 2465691"/>
              <a:gd name="connsiteY3" fmla="*/ 3254398 h 3254398"/>
              <a:gd name="connsiteX4" fmla="*/ 813600 w 2465691"/>
              <a:gd name="connsiteY4" fmla="*/ 3254398 h 3254398"/>
              <a:gd name="connsiteX5" fmla="*/ 0 w 2465691"/>
              <a:gd name="connsiteY5" fmla="*/ 1627199 h 3254398"/>
              <a:gd name="connsiteX0" fmla="*/ 0 w 2295491"/>
              <a:gd name="connsiteY0" fmla="*/ 1627199 h 3254398"/>
              <a:gd name="connsiteX1" fmla="*/ 813600 w 2295491"/>
              <a:gd name="connsiteY1" fmla="*/ 0 h 3254398"/>
              <a:gd name="connsiteX2" fmla="*/ 2295142 w 2295491"/>
              <a:gd name="connsiteY2" fmla="*/ 0 h 3254398"/>
              <a:gd name="connsiteX3" fmla="*/ 2295142 w 2295491"/>
              <a:gd name="connsiteY3" fmla="*/ 3254398 h 3254398"/>
              <a:gd name="connsiteX4" fmla="*/ 813600 w 2295491"/>
              <a:gd name="connsiteY4" fmla="*/ 3254398 h 3254398"/>
              <a:gd name="connsiteX5" fmla="*/ 0 w 2295491"/>
              <a:gd name="connsiteY5" fmla="*/ 1627199 h 3254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95491" h="3254398">
                <a:moveTo>
                  <a:pt x="0" y="1627199"/>
                </a:moveTo>
                <a:lnTo>
                  <a:pt x="813600" y="0"/>
                </a:lnTo>
                <a:lnTo>
                  <a:pt x="2295142" y="0"/>
                </a:lnTo>
                <a:cubicBezTo>
                  <a:pt x="2296351" y="1084799"/>
                  <a:pt x="2293933" y="2169599"/>
                  <a:pt x="2295142" y="3254398"/>
                </a:cubicBezTo>
                <a:lnTo>
                  <a:pt x="813600" y="3254398"/>
                </a:lnTo>
                <a:lnTo>
                  <a:pt x="0" y="1627199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algn="ctr"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Picture Placeholder 15">
            <a:extLst>
              <a:ext uri="{FF2B5EF4-FFF2-40B4-BE49-F238E27FC236}">
                <a16:creationId xmlns:a16="http://schemas.microsoft.com/office/drawing/2014/main" id="{431A9F71-89F9-5B44-968F-FDAF3734F4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689682" y="4348583"/>
            <a:ext cx="3776400" cy="2511448"/>
          </a:xfrm>
          <a:custGeom>
            <a:avLst/>
            <a:gdLst>
              <a:gd name="connsiteX0" fmla="*/ 0 w 3776400"/>
              <a:gd name="connsiteY0" fmla="*/ 1627200 h 3254400"/>
              <a:gd name="connsiteX1" fmla="*/ 813600 w 3776400"/>
              <a:gd name="connsiteY1" fmla="*/ 1 h 3254400"/>
              <a:gd name="connsiteX2" fmla="*/ 2962800 w 3776400"/>
              <a:gd name="connsiteY2" fmla="*/ 1 h 3254400"/>
              <a:gd name="connsiteX3" fmla="*/ 3776400 w 3776400"/>
              <a:gd name="connsiteY3" fmla="*/ 1627200 h 3254400"/>
              <a:gd name="connsiteX4" fmla="*/ 2962800 w 3776400"/>
              <a:gd name="connsiteY4" fmla="*/ 3254399 h 3254400"/>
              <a:gd name="connsiteX5" fmla="*/ 813600 w 3776400"/>
              <a:gd name="connsiteY5" fmla="*/ 3254399 h 3254400"/>
              <a:gd name="connsiteX6" fmla="*/ 0 w 3776400"/>
              <a:gd name="connsiteY6" fmla="*/ 1627200 h 3254400"/>
              <a:gd name="connsiteX0" fmla="*/ 0 w 3776400"/>
              <a:gd name="connsiteY0" fmla="*/ 1627199 h 3254398"/>
              <a:gd name="connsiteX1" fmla="*/ 813600 w 3776400"/>
              <a:gd name="connsiteY1" fmla="*/ 0 h 3254398"/>
              <a:gd name="connsiteX2" fmla="*/ 2962800 w 3776400"/>
              <a:gd name="connsiteY2" fmla="*/ 0 h 3254398"/>
              <a:gd name="connsiteX3" fmla="*/ 3776400 w 3776400"/>
              <a:gd name="connsiteY3" fmla="*/ 1627199 h 3254398"/>
              <a:gd name="connsiteX4" fmla="*/ 2962800 w 3776400"/>
              <a:gd name="connsiteY4" fmla="*/ 3254398 h 3254398"/>
              <a:gd name="connsiteX5" fmla="*/ 442125 w 3776400"/>
              <a:gd name="connsiteY5" fmla="*/ 2511448 h 3254398"/>
              <a:gd name="connsiteX6" fmla="*/ 0 w 3776400"/>
              <a:gd name="connsiteY6" fmla="*/ 1627199 h 3254398"/>
              <a:gd name="connsiteX0" fmla="*/ 0 w 3776400"/>
              <a:gd name="connsiteY0" fmla="*/ 1627199 h 2511448"/>
              <a:gd name="connsiteX1" fmla="*/ 813600 w 3776400"/>
              <a:gd name="connsiteY1" fmla="*/ 0 h 2511448"/>
              <a:gd name="connsiteX2" fmla="*/ 2962800 w 3776400"/>
              <a:gd name="connsiteY2" fmla="*/ 0 h 2511448"/>
              <a:gd name="connsiteX3" fmla="*/ 3776400 w 3776400"/>
              <a:gd name="connsiteY3" fmla="*/ 1627199 h 2511448"/>
              <a:gd name="connsiteX4" fmla="*/ 3331100 w 3776400"/>
              <a:gd name="connsiteY4" fmla="*/ 2511448 h 2511448"/>
              <a:gd name="connsiteX5" fmla="*/ 442125 w 3776400"/>
              <a:gd name="connsiteY5" fmla="*/ 2511448 h 2511448"/>
              <a:gd name="connsiteX6" fmla="*/ 0 w 3776400"/>
              <a:gd name="connsiteY6" fmla="*/ 1627199 h 2511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76400" h="2511448">
                <a:moveTo>
                  <a:pt x="0" y="1627199"/>
                </a:moveTo>
                <a:lnTo>
                  <a:pt x="813600" y="0"/>
                </a:lnTo>
                <a:lnTo>
                  <a:pt x="2962800" y="0"/>
                </a:lnTo>
                <a:lnTo>
                  <a:pt x="3776400" y="1627199"/>
                </a:lnTo>
                <a:lnTo>
                  <a:pt x="3331100" y="2511448"/>
                </a:lnTo>
                <a:lnTo>
                  <a:pt x="442125" y="2511448"/>
                </a:lnTo>
                <a:lnTo>
                  <a:pt x="0" y="1627199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algn="ctr"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Picture Placeholder 18">
            <a:extLst>
              <a:ext uri="{FF2B5EF4-FFF2-40B4-BE49-F238E27FC236}">
                <a16:creationId xmlns:a16="http://schemas.microsoft.com/office/drawing/2014/main" id="{9A090D59-9ABE-0B48-94F0-57F1858639C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895923" y="4348582"/>
            <a:ext cx="2295491" cy="2511397"/>
          </a:xfrm>
          <a:custGeom>
            <a:avLst/>
            <a:gdLst>
              <a:gd name="connsiteX0" fmla="*/ 0 w 3776400"/>
              <a:gd name="connsiteY0" fmla="*/ 1627200 h 3254400"/>
              <a:gd name="connsiteX1" fmla="*/ 813600 w 3776400"/>
              <a:gd name="connsiteY1" fmla="*/ 1 h 3254400"/>
              <a:gd name="connsiteX2" fmla="*/ 2962800 w 3776400"/>
              <a:gd name="connsiteY2" fmla="*/ 1 h 3254400"/>
              <a:gd name="connsiteX3" fmla="*/ 3776400 w 3776400"/>
              <a:gd name="connsiteY3" fmla="*/ 1627200 h 3254400"/>
              <a:gd name="connsiteX4" fmla="*/ 2962800 w 3776400"/>
              <a:gd name="connsiteY4" fmla="*/ 3254399 h 3254400"/>
              <a:gd name="connsiteX5" fmla="*/ 813600 w 3776400"/>
              <a:gd name="connsiteY5" fmla="*/ 3254399 h 3254400"/>
              <a:gd name="connsiteX6" fmla="*/ 0 w 3776400"/>
              <a:gd name="connsiteY6" fmla="*/ 1627200 h 3254400"/>
              <a:gd name="connsiteX0" fmla="*/ 0 w 3776400"/>
              <a:gd name="connsiteY0" fmla="*/ 1627199 h 3254398"/>
              <a:gd name="connsiteX1" fmla="*/ 813600 w 3776400"/>
              <a:gd name="connsiteY1" fmla="*/ 0 h 3254398"/>
              <a:gd name="connsiteX2" fmla="*/ 2291514 w 3776400"/>
              <a:gd name="connsiteY2" fmla="*/ 0 h 3254398"/>
              <a:gd name="connsiteX3" fmla="*/ 3776400 w 3776400"/>
              <a:gd name="connsiteY3" fmla="*/ 1627199 h 3254398"/>
              <a:gd name="connsiteX4" fmla="*/ 2962800 w 3776400"/>
              <a:gd name="connsiteY4" fmla="*/ 3254398 h 3254398"/>
              <a:gd name="connsiteX5" fmla="*/ 813600 w 3776400"/>
              <a:gd name="connsiteY5" fmla="*/ 3254398 h 3254398"/>
              <a:gd name="connsiteX6" fmla="*/ 0 w 3776400"/>
              <a:gd name="connsiteY6" fmla="*/ 1627199 h 3254398"/>
              <a:gd name="connsiteX0" fmla="*/ 0 w 3776400"/>
              <a:gd name="connsiteY0" fmla="*/ 1627199 h 3254398"/>
              <a:gd name="connsiteX1" fmla="*/ 813600 w 3776400"/>
              <a:gd name="connsiteY1" fmla="*/ 0 h 3254398"/>
              <a:gd name="connsiteX2" fmla="*/ 2291514 w 3776400"/>
              <a:gd name="connsiteY2" fmla="*/ 0 h 3254398"/>
              <a:gd name="connsiteX3" fmla="*/ 3776400 w 3776400"/>
              <a:gd name="connsiteY3" fmla="*/ 1627199 h 3254398"/>
              <a:gd name="connsiteX4" fmla="*/ 2295142 w 3776400"/>
              <a:gd name="connsiteY4" fmla="*/ 3254398 h 3254398"/>
              <a:gd name="connsiteX5" fmla="*/ 813600 w 3776400"/>
              <a:gd name="connsiteY5" fmla="*/ 3254398 h 3254398"/>
              <a:gd name="connsiteX6" fmla="*/ 0 w 3776400"/>
              <a:gd name="connsiteY6" fmla="*/ 1627199 h 3254398"/>
              <a:gd name="connsiteX0" fmla="*/ 0 w 2295142"/>
              <a:gd name="connsiteY0" fmla="*/ 1627199 h 3254398"/>
              <a:gd name="connsiteX1" fmla="*/ 813600 w 2295142"/>
              <a:gd name="connsiteY1" fmla="*/ 0 h 3254398"/>
              <a:gd name="connsiteX2" fmla="*/ 2291514 w 2295142"/>
              <a:gd name="connsiteY2" fmla="*/ 0 h 3254398"/>
              <a:gd name="connsiteX3" fmla="*/ 2295142 w 2295142"/>
              <a:gd name="connsiteY3" fmla="*/ 3254398 h 3254398"/>
              <a:gd name="connsiteX4" fmla="*/ 813600 w 2295142"/>
              <a:gd name="connsiteY4" fmla="*/ 3254398 h 3254398"/>
              <a:gd name="connsiteX5" fmla="*/ 0 w 2295142"/>
              <a:gd name="connsiteY5" fmla="*/ 1627199 h 3254398"/>
              <a:gd name="connsiteX0" fmla="*/ 0 w 2465691"/>
              <a:gd name="connsiteY0" fmla="*/ 1627199 h 3254398"/>
              <a:gd name="connsiteX1" fmla="*/ 813600 w 2465691"/>
              <a:gd name="connsiteY1" fmla="*/ 0 h 3254398"/>
              <a:gd name="connsiteX2" fmla="*/ 2465685 w 2465691"/>
              <a:gd name="connsiteY2" fmla="*/ 0 h 3254398"/>
              <a:gd name="connsiteX3" fmla="*/ 2295142 w 2465691"/>
              <a:gd name="connsiteY3" fmla="*/ 3254398 h 3254398"/>
              <a:gd name="connsiteX4" fmla="*/ 813600 w 2465691"/>
              <a:gd name="connsiteY4" fmla="*/ 3254398 h 3254398"/>
              <a:gd name="connsiteX5" fmla="*/ 0 w 2465691"/>
              <a:gd name="connsiteY5" fmla="*/ 1627199 h 3254398"/>
              <a:gd name="connsiteX0" fmla="*/ 0 w 2295491"/>
              <a:gd name="connsiteY0" fmla="*/ 1627199 h 3254398"/>
              <a:gd name="connsiteX1" fmla="*/ 813600 w 2295491"/>
              <a:gd name="connsiteY1" fmla="*/ 0 h 3254398"/>
              <a:gd name="connsiteX2" fmla="*/ 2295142 w 2295491"/>
              <a:gd name="connsiteY2" fmla="*/ 0 h 3254398"/>
              <a:gd name="connsiteX3" fmla="*/ 2295142 w 2295491"/>
              <a:gd name="connsiteY3" fmla="*/ 3254398 h 3254398"/>
              <a:gd name="connsiteX4" fmla="*/ 813600 w 2295491"/>
              <a:gd name="connsiteY4" fmla="*/ 3254398 h 3254398"/>
              <a:gd name="connsiteX5" fmla="*/ 0 w 2295491"/>
              <a:gd name="connsiteY5" fmla="*/ 1627199 h 3254398"/>
              <a:gd name="connsiteX0" fmla="*/ 0 w 2295491"/>
              <a:gd name="connsiteY0" fmla="*/ 1627199 h 3254398"/>
              <a:gd name="connsiteX1" fmla="*/ 813600 w 2295491"/>
              <a:gd name="connsiteY1" fmla="*/ 0 h 3254398"/>
              <a:gd name="connsiteX2" fmla="*/ 2295142 w 2295491"/>
              <a:gd name="connsiteY2" fmla="*/ 0 h 3254398"/>
              <a:gd name="connsiteX3" fmla="*/ 2295142 w 2295491"/>
              <a:gd name="connsiteY3" fmla="*/ 3254398 h 3254398"/>
              <a:gd name="connsiteX4" fmla="*/ 446862 w 2295491"/>
              <a:gd name="connsiteY4" fmla="*/ 2520922 h 3254398"/>
              <a:gd name="connsiteX5" fmla="*/ 0 w 2295491"/>
              <a:gd name="connsiteY5" fmla="*/ 1627199 h 3254398"/>
              <a:gd name="connsiteX0" fmla="*/ 0 w 2295491"/>
              <a:gd name="connsiteY0" fmla="*/ 1627199 h 2520922"/>
              <a:gd name="connsiteX1" fmla="*/ 813600 w 2295491"/>
              <a:gd name="connsiteY1" fmla="*/ 0 h 2520922"/>
              <a:gd name="connsiteX2" fmla="*/ 2295142 w 2295491"/>
              <a:gd name="connsiteY2" fmla="*/ 0 h 2520922"/>
              <a:gd name="connsiteX3" fmla="*/ 2295142 w 2295491"/>
              <a:gd name="connsiteY3" fmla="*/ 2511142 h 2520922"/>
              <a:gd name="connsiteX4" fmla="*/ 446862 w 2295491"/>
              <a:gd name="connsiteY4" fmla="*/ 2520922 h 2520922"/>
              <a:gd name="connsiteX5" fmla="*/ 0 w 2295491"/>
              <a:gd name="connsiteY5" fmla="*/ 1627199 h 2520922"/>
              <a:gd name="connsiteX0" fmla="*/ 0 w 2295491"/>
              <a:gd name="connsiteY0" fmla="*/ 1627199 h 2590772"/>
              <a:gd name="connsiteX1" fmla="*/ 813600 w 2295491"/>
              <a:gd name="connsiteY1" fmla="*/ 0 h 2590772"/>
              <a:gd name="connsiteX2" fmla="*/ 2295142 w 2295491"/>
              <a:gd name="connsiteY2" fmla="*/ 0 h 2590772"/>
              <a:gd name="connsiteX3" fmla="*/ 2295142 w 2295491"/>
              <a:gd name="connsiteY3" fmla="*/ 2511142 h 2590772"/>
              <a:gd name="connsiteX4" fmla="*/ 481787 w 2295491"/>
              <a:gd name="connsiteY4" fmla="*/ 2590772 h 2590772"/>
              <a:gd name="connsiteX5" fmla="*/ 0 w 2295491"/>
              <a:gd name="connsiteY5" fmla="*/ 1627199 h 2590772"/>
              <a:gd name="connsiteX0" fmla="*/ 0 w 2295491"/>
              <a:gd name="connsiteY0" fmla="*/ 1627199 h 2511142"/>
              <a:gd name="connsiteX1" fmla="*/ 813600 w 2295491"/>
              <a:gd name="connsiteY1" fmla="*/ 0 h 2511142"/>
              <a:gd name="connsiteX2" fmla="*/ 2295142 w 2295491"/>
              <a:gd name="connsiteY2" fmla="*/ 0 h 2511142"/>
              <a:gd name="connsiteX3" fmla="*/ 2295142 w 2295491"/>
              <a:gd name="connsiteY3" fmla="*/ 2511142 h 2511142"/>
              <a:gd name="connsiteX4" fmla="*/ 440512 w 2295491"/>
              <a:gd name="connsiteY4" fmla="*/ 2508222 h 2511142"/>
              <a:gd name="connsiteX5" fmla="*/ 0 w 2295491"/>
              <a:gd name="connsiteY5" fmla="*/ 1627199 h 2511142"/>
              <a:gd name="connsiteX0" fmla="*/ 0 w 2295491"/>
              <a:gd name="connsiteY0" fmla="*/ 1627199 h 2511142"/>
              <a:gd name="connsiteX1" fmla="*/ 813600 w 2295491"/>
              <a:gd name="connsiteY1" fmla="*/ 0 h 2511142"/>
              <a:gd name="connsiteX2" fmla="*/ 2295142 w 2295491"/>
              <a:gd name="connsiteY2" fmla="*/ 0 h 2511142"/>
              <a:gd name="connsiteX3" fmla="*/ 2295142 w 2295491"/>
              <a:gd name="connsiteY3" fmla="*/ 2511142 h 2511142"/>
              <a:gd name="connsiteX4" fmla="*/ 440512 w 2295491"/>
              <a:gd name="connsiteY4" fmla="*/ 2508222 h 2511142"/>
              <a:gd name="connsiteX5" fmla="*/ 0 w 2295491"/>
              <a:gd name="connsiteY5" fmla="*/ 1627199 h 2511142"/>
              <a:gd name="connsiteX0" fmla="*/ 0 w 2295491"/>
              <a:gd name="connsiteY0" fmla="*/ 1627199 h 2520922"/>
              <a:gd name="connsiteX1" fmla="*/ 813600 w 2295491"/>
              <a:gd name="connsiteY1" fmla="*/ 0 h 2520922"/>
              <a:gd name="connsiteX2" fmla="*/ 2295142 w 2295491"/>
              <a:gd name="connsiteY2" fmla="*/ 0 h 2520922"/>
              <a:gd name="connsiteX3" fmla="*/ 2295142 w 2295491"/>
              <a:gd name="connsiteY3" fmla="*/ 2511142 h 2520922"/>
              <a:gd name="connsiteX4" fmla="*/ 443687 w 2295491"/>
              <a:gd name="connsiteY4" fmla="*/ 2520922 h 2520922"/>
              <a:gd name="connsiteX5" fmla="*/ 0 w 2295491"/>
              <a:gd name="connsiteY5" fmla="*/ 1627199 h 2520922"/>
              <a:gd name="connsiteX0" fmla="*/ 0 w 2295491"/>
              <a:gd name="connsiteY0" fmla="*/ 1627199 h 2511397"/>
              <a:gd name="connsiteX1" fmla="*/ 813600 w 2295491"/>
              <a:gd name="connsiteY1" fmla="*/ 0 h 2511397"/>
              <a:gd name="connsiteX2" fmla="*/ 2295142 w 2295491"/>
              <a:gd name="connsiteY2" fmla="*/ 0 h 2511397"/>
              <a:gd name="connsiteX3" fmla="*/ 2295142 w 2295491"/>
              <a:gd name="connsiteY3" fmla="*/ 2511142 h 2511397"/>
              <a:gd name="connsiteX4" fmla="*/ 437337 w 2295491"/>
              <a:gd name="connsiteY4" fmla="*/ 2511397 h 2511397"/>
              <a:gd name="connsiteX5" fmla="*/ 0 w 2295491"/>
              <a:gd name="connsiteY5" fmla="*/ 1627199 h 2511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95491" h="2511397">
                <a:moveTo>
                  <a:pt x="0" y="1627199"/>
                </a:moveTo>
                <a:lnTo>
                  <a:pt x="813600" y="0"/>
                </a:lnTo>
                <a:lnTo>
                  <a:pt x="2295142" y="0"/>
                </a:lnTo>
                <a:cubicBezTo>
                  <a:pt x="2296351" y="1084799"/>
                  <a:pt x="2293933" y="1426343"/>
                  <a:pt x="2295142" y="2511142"/>
                </a:cubicBezTo>
                <a:lnTo>
                  <a:pt x="437337" y="2511397"/>
                </a:lnTo>
                <a:lnTo>
                  <a:pt x="0" y="1627199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algn="ctr"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9598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7C36CF3-2C8D-8942-A129-05DEF5F7B3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-13431981" y="6254040"/>
            <a:ext cx="2743200" cy="365125"/>
          </a:xfrm>
        </p:spPr>
        <p:txBody>
          <a:bodyPr/>
          <a:lstStyle/>
          <a:p>
            <a:fld id="{978044AF-CED4-0041-B851-6374C8DF4BD0}" type="datetimeFigureOut">
              <a:rPr lang="en-FI" smtClean="0"/>
              <a:t>09/09/2022</a:t>
            </a:fld>
            <a:endParaRPr lang="en-FI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D9E028-CC7D-1949-B8CD-96C83458BE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5659581" y="6254040"/>
            <a:ext cx="2743200" cy="365125"/>
          </a:xfrm>
        </p:spPr>
        <p:txBody>
          <a:bodyPr/>
          <a:lstStyle/>
          <a:p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14502646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-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7C36CF3-2C8D-8942-A129-05DEF5F7B3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-13431981" y="6254040"/>
            <a:ext cx="2743200" cy="365125"/>
          </a:xfrm>
        </p:spPr>
        <p:txBody>
          <a:bodyPr/>
          <a:lstStyle/>
          <a:p>
            <a:fld id="{978044AF-CED4-0041-B851-6374C8DF4BD0}" type="datetimeFigureOut">
              <a:rPr lang="en-FI" smtClean="0"/>
              <a:t>09/09/2022</a:t>
            </a:fld>
            <a:endParaRPr lang="en-FI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D9E028-CC7D-1949-B8CD-96C83458BE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5659581" y="6254040"/>
            <a:ext cx="2743200" cy="365125"/>
          </a:xfrm>
        </p:spPr>
        <p:txBody>
          <a:bodyPr/>
          <a:lstStyle/>
          <a:p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407882936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- gradient">
    <p:bg>
      <p:bgPr>
        <a:gradFill>
          <a:gsLst>
            <a:gs pos="0">
              <a:schemeClr val="accent1"/>
            </a:gs>
            <a:gs pos="100000">
              <a:schemeClr val="accent2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7C36CF3-2C8D-8942-A129-05DEF5F7B3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-12074236" y="6254040"/>
            <a:ext cx="2743200" cy="365125"/>
          </a:xfrm>
        </p:spPr>
        <p:txBody>
          <a:bodyPr/>
          <a:lstStyle/>
          <a:p>
            <a:fld id="{978044AF-CED4-0041-B851-6374C8DF4BD0}" type="datetimeFigureOut">
              <a:rPr lang="en-FI" smtClean="0"/>
              <a:t>09/09/2022</a:t>
            </a:fld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19343304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hank you -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7C36CF3-2C8D-8942-A129-05DEF5F7B3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-12074236" y="6254040"/>
            <a:ext cx="2743200" cy="365125"/>
          </a:xfrm>
        </p:spPr>
        <p:txBody>
          <a:bodyPr/>
          <a:lstStyle/>
          <a:p>
            <a:fld id="{978044AF-CED4-0041-B851-6374C8DF4BD0}" type="datetimeFigureOut">
              <a:rPr lang="en-FI" smtClean="0"/>
              <a:t>09/09/2022</a:t>
            </a:fld>
            <a:endParaRPr lang="en-FI"/>
          </a:p>
        </p:txBody>
      </p: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9393F4A6-BC9F-2741-A8BC-B3D436ED5E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97150" y="4495441"/>
            <a:ext cx="1719454" cy="1209446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7039B91-1838-2A4E-B843-E642444EDD72}"/>
              </a:ext>
            </a:extLst>
          </p:cNvPr>
          <p:cNvCxnSpPr>
            <a:cxnSpLocks/>
          </p:cNvCxnSpPr>
          <p:nvPr userDrawn="1"/>
        </p:nvCxnSpPr>
        <p:spPr>
          <a:xfrm>
            <a:off x="4606228" y="2962582"/>
            <a:ext cx="2979545" cy="0"/>
          </a:xfrm>
          <a:prstGeom prst="line">
            <a:avLst/>
          </a:prstGeom>
          <a:ln w="57150">
            <a:solidFill>
              <a:srgbClr val="E2698B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6" name="Title 1">
            <a:extLst>
              <a:ext uri="{FF2B5EF4-FFF2-40B4-BE49-F238E27FC236}">
                <a16:creationId xmlns:a16="http://schemas.microsoft.com/office/drawing/2014/main" id="{43C93DDC-AD40-C54A-8BEA-D4B16DB1CBBD}"/>
              </a:ext>
            </a:extLst>
          </p:cNvPr>
          <p:cNvSpPr txBox="1">
            <a:spLocks/>
          </p:cNvSpPr>
          <p:nvPr userDrawn="1"/>
        </p:nvSpPr>
        <p:spPr>
          <a:xfrm>
            <a:off x="1534161" y="3252735"/>
            <a:ext cx="9144000" cy="82646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200" b="1" i="0" kern="1200" spc="100" baseline="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rPr>
              <a:t>HEXA-X.EU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DE329DEE-954C-FB4F-A0C5-29E536E5E94B}"/>
              </a:ext>
            </a:extLst>
          </p:cNvPr>
          <p:cNvSpPr txBox="1">
            <a:spLocks/>
          </p:cNvSpPr>
          <p:nvPr userDrawn="1"/>
        </p:nvSpPr>
        <p:spPr>
          <a:xfrm>
            <a:off x="1524000" y="2021392"/>
            <a:ext cx="9144000" cy="8264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Thank you!</a:t>
            </a:r>
            <a:endParaRPr lang="en-FI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E3C01A74-E640-994B-A5CC-94F3F34CF8DE}"/>
              </a:ext>
            </a:extLst>
          </p:cNvPr>
          <p:cNvGrpSpPr/>
          <p:nvPr userDrawn="1"/>
        </p:nvGrpSpPr>
        <p:grpSpPr>
          <a:xfrm>
            <a:off x="2730682" y="5973794"/>
            <a:ext cx="6730633" cy="523220"/>
            <a:chOff x="2510470" y="5973794"/>
            <a:chExt cx="6730633" cy="523220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59F165B1-B3BC-7040-9A4C-4600B7175FEC}"/>
                </a:ext>
              </a:extLst>
            </p:cNvPr>
            <p:cNvSpPr/>
            <p:nvPr userDrawn="1"/>
          </p:nvSpPr>
          <p:spPr>
            <a:xfrm>
              <a:off x="3058158" y="5973794"/>
              <a:ext cx="6182945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0" i="0" u="none" strike="noStrike" spc="10" baseline="0">
                  <a:solidFill>
                    <a:schemeClr val="tx1"/>
                  </a:solidFill>
                  <a:effectLst/>
                  <a:latin typeface="+mn-lt"/>
                </a:rPr>
                <a:t>This project has received funding from the European Union’s Horizon 2020 </a:t>
              </a:r>
              <a:r>
                <a:rPr lang="en-US" sz="1400" b="0" i="0" u="none" strike="noStrike">
                  <a:solidFill>
                    <a:schemeClr val="tx1"/>
                  </a:solidFill>
                  <a:effectLst/>
                  <a:latin typeface="+mn-lt"/>
                </a:rPr>
                <a:t>research and innovation </a:t>
              </a:r>
              <a:r>
                <a:rPr lang="en-US" sz="1400" b="0" i="0" u="none" strike="noStrike" err="1">
                  <a:solidFill>
                    <a:schemeClr val="tx1"/>
                  </a:solidFill>
                  <a:effectLst/>
                  <a:latin typeface="+mn-lt"/>
                </a:rPr>
                <a:t>programme</a:t>
              </a:r>
              <a:r>
                <a:rPr lang="en-US" sz="1400" b="0" i="0" u="none" strike="noStrike">
                  <a:solidFill>
                    <a:schemeClr val="tx1"/>
                  </a:solidFill>
                  <a:effectLst/>
                  <a:latin typeface="+mn-lt"/>
                </a:rPr>
                <a:t> under grant agreement No 101015956.</a:t>
              </a:r>
              <a:endParaRPr lang="en-FI" sz="1400">
                <a:solidFill>
                  <a:schemeClr val="tx1"/>
                </a:solidFill>
                <a:latin typeface="+mn-lt"/>
              </a:endParaRPr>
            </a:p>
          </p:txBody>
        </p:sp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BF0A1BB2-8F7C-934C-982B-F25B5FFE13B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2510470" y="6052842"/>
              <a:ext cx="547688" cy="365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524974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hank you -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7C36CF3-2C8D-8942-A129-05DEF5F7B3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-12074236" y="6254040"/>
            <a:ext cx="2743200" cy="365125"/>
          </a:xfrm>
        </p:spPr>
        <p:txBody>
          <a:bodyPr/>
          <a:lstStyle/>
          <a:p>
            <a:fld id="{978044AF-CED4-0041-B851-6374C8DF4BD0}" type="datetimeFigureOut">
              <a:rPr lang="en-FI" smtClean="0"/>
              <a:t>09/09/2022</a:t>
            </a:fld>
            <a:endParaRPr lang="en-FI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DC44A51-9239-6642-A695-5A1B2C14022D}"/>
              </a:ext>
            </a:extLst>
          </p:cNvPr>
          <p:cNvCxnSpPr>
            <a:cxnSpLocks/>
          </p:cNvCxnSpPr>
          <p:nvPr userDrawn="1"/>
        </p:nvCxnSpPr>
        <p:spPr>
          <a:xfrm>
            <a:off x="4606228" y="2962582"/>
            <a:ext cx="2979545" cy="0"/>
          </a:xfrm>
          <a:prstGeom prst="line">
            <a:avLst/>
          </a:prstGeom>
          <a:ln w="57150">
            <a:solidFill>
              <a:srgbClr val="E2698B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7" name="Title 1">
            <a:extLst>
              <a:ext uri="{FF2B5EF4-FFF2-40B4-BE49-F238E27FC236}">
                <a16:creationId xmlns:a16="http://schemas.microsoft.com/office/drawing/2014/main" id="{F6461CA9-1163-9B42-A14F-C48BC14D1D31}"/>
              </a:ext>
            </a:extLst>
          </p:cNvPr>
          <p:cNvSpPr txBox="1">
            <a:spLocks/>
          </p:cNvSpPr>
          <p:nvPr userDrawn="1"/>
        </p:nvSpPr>
        <p:spPr>
          <a:xfrm>
            <a:off x="1534161" y="3252735"/>
            <a:ext cx="9144000" cy="82646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200" b="1" i="0" kern="1200" spc="100" baseline="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rPr>
              <a:t>HEXA-X.EU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0DBE6F4-F5B6-3F44-B4BA-9F5BA4F40495}"/>
              </a:ext>
            </a:extLst>
          </p:cNvPr>
          <p:cNvSpPr txBox="1">
            <a:spLocks/>
          </p:cNvSpPr>
          <p:nvPr userDrawn="1"/>
        </p:nvSpPr>
        <p:spPr>
          <a:xfrm>
            <a:off x="1524000" y="2021392"/>
            <a:ext cx="9144000" cy="8264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Thank you!</a:t>
            </a:r>
            <a:endParaRPr lang="en-FI"/>
          </a:p>
        </p:txBody>
      </p:sp>
      <p:pic>
        <p:nvPicPr>
          <p:cNvPr id="10" name="Picture 9" descr="Icon&#10;&#10;Description automatically generated">
            <a:extLst>
              <a:ext uri="{FF2B5EF4-FFF2-40B4-BE49-F238E27FC236}">
                <a16:creationId xmlns:a16="http://schemas.microsoft.com/office/drawing/2014/main" id="{8CC19374-C219-8042-BA09-5209939F730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97150" y="4495440"/>
            <a:ext cx="1719454" cy="1209446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EC69FB99-7D3E-914A-9D92-940F50649BAF}"/>
              </a:ext>
            </a:extLst>
          </p:cNvPr>
          <p:cNvGrpSpPr/>
          <p:nvPr userDrawn="1"/>
        </p:nvGrpSpPr>
        <p:grpSpPr>
          <a:xfrm>
            <a:off x="2730682" y="5973794"/>
            <a:ext cx="6730633" cy="523220"/>
            <a:chOff x="2510470" y="5973794"/>
            <a:chExt cx="6730633" cy="52322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E23BF32-CDBA-344E-9879-28E864430AF9}"/>
                </a:ext>
              </a:extLst>
            </p:cNvPr>
            <p:cNvSpPr/>
            <p:nvPr userDrawn="1"/>
          </p:nvSpPr>
          <p:spPr>
            <a:xfrm>
              <a:off x="3058158" y="5973794"/>
              <a:ext cx="6182945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0" i="0" u="none" strike="noStrike" spc="10" baseline="0">
                  <a:solidFill>
                    <a:srgbClr val="FFFFFF"/>
                  </a:solidFill>
                  <a:effectLst/>
                  <a:latin typeface="+mn-lt"/>
                </a:rPr>
                <a:t>This project has received funding from the European Union’s Horizon 2020 </a:t>
              </a:r>
              <a:r>
                <a:rPr lang="en-US" sz="1400" b="0" i="0" u="none" strike="noStrike">
                  <a:solidFill>
                    <a:srgbClr val="FFFFFF"/>
                  </a:solidFill>
                  <a:effectLst/>
                  <a:latin typeface="+mn-lt"/>
                </a:rPr>
                <a:t>research and innovation </a:t>
              </a:r>
              <a:r>
                <a:rPr lang="en-US" sz="1400" b="0" i="0" u="none" strike="noStrike" err="1">
                  <a:solidFill>
                    <a:srgbClr val="FFFFFF"/>
                  </a:solidFill>
                  <a:effectLst/>
                  <a:latin typeface="+mn-lt"/>
                </a:rPr>
                <a:t>programme</a:t>
              </a:r>
              <a:r>
                <a:rPr lang="en-US" sz="1400" b="0" i="0" u="none" strike="noStrike">
                  <a:solidFill>
                    <a:srgbClr val="FFFFFF"/>
                  </a:solidFill>
                  <a:effectLst/>
                  <a:latin typeface="+mn-lt"/>
                </a:rPr>
                <a:t> under grant agreement No 101015956.</a:t>
              </a:r>
              <a:endParaRPr lang="en-FI" sz="1400">
                <a:latin typeface="+mn-lt"/>
              </a:endParaRP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476F7DE3-1AB8-1044-B88B-E914B17DE6F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2510470" y="6052842"/>
              <a:ext cx="547688" cy="365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651612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hank you - gradient">
    <p:bg>
      <p:bgPr>
        <a:gradFill>
          <a:gsLst>
            <a:gs pos="0">
              <a:schemeClr val="accent1"/>
            </a:gs>
            <a:gs pos="100000">
              <a:srgbClr val="006AB6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7C36CF3-2C8D-8942-A129-05DEF5F7B3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-12074236" y="6254040"/>
            <a:ext cx="2743200" cy="365125"/>
          </a:xfrm>
        </p:spPr>
        <p:txBody>
          <a:bodyPr/>
          <a:lstStyle/>
          <a:p>
            <a:fld id="{978044AF-CED4-0041-B851-6374C8DF4BD0}" type="datetimeFigureOut">
              <a:rPr lang="en-FI" smtClean="0"/>
              <a:t>09/09/2022</a:t>
            </a:fld>
            <a:endParaRPr lang="en-FI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E426296-2F93-494A-871F-664986C64042}"/>
              </a:ext>
            </a:extLst>
          </p:cNvPr>
          <p:cNvCxnSpPr>
            <a:cxnSpLocks/>
          </p:cNvCxnSpPr>
          <p:nvPr userDrawn="1"/>
        </p:nvCxnSpPr>
        <p:spPr>
          <a:xfrm>
            <a:off x="4606228" y="2962582"/>
            <a:ext cx="2979545" cy="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" name="Title 1">
            <a:extLst>
              <a:ext uri="{FF2B5EF4-FFF2-40B4-BE49-F238E27FC236}">
                <a16:creationId xmlns:a16="http://schemas.microsoft.com/office/drawing/2014/main" id="{7C3854A6-3AEA-BC4F-921C-A44787E4A0CD}"/>
              </a:ext>
            </a:extLst>
          </p:cNvPr>
          <p:cNvSpPr txBox="1">
            <a:spLocks/>
          </p:cNvSpPr>
          <p:nvPr userDrawn="1"/>
        </p:nvSpPr>
        <p:spPr>
          <a:xfrm>
            <a:off x="1534161" y="3252735"/>
            <a:ext cx="9144000" cy="82646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200" b="1" i="0" kern="1200" spc="100" baseline="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rPr>
              <a:t>HEXA-X.EU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FF7BFCED-C22C-204C-B9E2-3EC8071F7E65}"/>
              </a:ext>
            </a:extLst>
          </p:cNvPr>
          <p:cNvSpPr txBox="1">
            <a:spLocks/>
          </p:cNvSpPr>
          <p:nvPr userDrawn="1"/>
        </p:nvSpPr>
        <p:spPr>
          <a:xfrm>
            <a:off x="1524000" y="2021392"/>
            <a:ext cx="9144000" cy="8264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Thank you!</a:t>
            </a:r>
            <a:endParaRPr lang="en-FI"/>
          </a:p>
        </p:txBody>
      </p:sp>
      <p:pic>
        <p:nvPicPr>
          <p:cNvPr id="14" name="Picture 13" descr="Icon&#10;&#10;Description automatically generated">
            <a:extLst>
              <a:ext uri="{FF2B5EF4-FFF2-40B4-BE49-F238E27FC236}">
                <a16:creationId xmlns:a16="http://schemas.microsoft.com/office/drawing/2014/main" id="{E9264D22-33ED-6749-B0BC-829C9181C3B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97150" y="4495440"/>
            <a:ext cx="1719454" cy="1209446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201DDE9A-0115-C047-B575-0649438DBF13}"/>
              </a:ext>
            </a:extLst>
          </p:cNvPr>
          <p:cNvGrpSpPr/>
          <p:nvPr userDrawn="1"/>
        </p:nvGrpSpPr>
        <p:grpSpPr>
          <a:xfrm>
            <a:off x="2730682" y="5973794"/>
            <a:ext cx="6730633" cy="523220"/>
            <a:chOff x="2510470" y="5973794"/>
            <a:chExt cx="6730633" cy="52322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42E573D-B661-DC4D-B07B-581467DB7F02}"/>
                </a:ext>
              </a:extLst>
            </p:cNvPr>
            <p:cNvSpPr/>
            <p:nvPr userDrawn="1"/>
          </p:nvSpPr>
          <p:spPr>
            <a:xfrm>
              <a:off x="3058158" y="5973794"/>
              <a:ext cx="6182945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0" i="0" u="none" strike="noStrike" spc="10" baseline="0">
                  <a:solidFill>
                    <a:srgbClr val="FFFFFF"/>
                  </a:solidFill>
                  <a:effectLst/>
                  <a:latin typeface="+mn-lt"/>
                </a:rPr>
                <a:t>This project has received funding from the European Union’s Horizon 2020 </a:t>
              </a:r>
              <a:r>
                <a:rPr lang="en-US" sz="1400" b="0" i="0" u="none" strike="noStrike">
                  <a:solidFill>
                    <a:srgbClr val="FFFFFF"/>
                  </a:solidFill>
                  <a:effectLst/>
                  <a:latin typeface="+mn-lt"/>
                </a:rPr>
                <a:t>research and innovation </a:t>
              </a:r>
              <a:r>
                <a:rPr lang="en-US" sz="1400" b="0" i="0" u="none" strike="noStrike" err="1">
                  <a:solidFill>
                    <a:srgbClr val="FFFFFF"/>
                  </a:solidFill>
                  <a:effectLst/>
                  <a:latin typeface="+mn-lt"/>
                </a:rPr>
                <a:t>programme</a:t>
              </a:r>
              <a:r>
                <a:rPr lang="en-US" sz="1400" b="0" i="0" u="none" strike="noStrike">
                  <a:solidFill>
                    <a:srgbClr val="FFFFFF"/>
                  </a:solidFill>
                  <a:effectLst/>
                  <a:latin typeface="+mn-lt"/>
                </a:rPr>
                <a:t> under grant agreement No 101015956.</a:t>
              </a:r>
              <a:endParaRPr lang="en-FI" sz="1400">
                <a:latin typeface="+mn-lt"/>
              </a:endParaRP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4A547EC0-8645-0A40-93B2-24CA306A64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2510470" y="6052842"/>
              <a:ext cx="547688" cy="365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437495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itle Slide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0A20B-4D56-874D-9BB8-ED7002AD2F0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2714249"/>
            <a:ext cx="5716479" cy="2171173"/>
          </a:xfrm>
          <a:noFill/>
        </p:spPr>
        <p:txBody>
          <a:bodyPr anchor="t">
            <a:normAutofit/>
          </a:bodyPr>
          <a:lstStyle>
            <a:lvl1pPr algn="l">
              <a:defRPr sz="4400" b="1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6C77283-1A6D-9448-A967-C3A38830DD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8201" y="-19459"/>
            <a:ext cx="5716479" cy="2416514"/>
          </a:xfrm>
          <a:noFill/>
        </p:spPr>
        <p:txBody>
          <a:bodyPr anchor="b"/>
          <a:lstStyle>
            <a:lvl1pPr marL="0" indent="0" algn="l">
              <a:buNone/>
              <a:defRPr sz="2800" spc="1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FI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0AEE47C-9D58-E842-8356-34FB389C8E73}"/>
              </a:ext>
            </a:extLst>
          </p:cNvPr>
          <p:cNvCxnSpPr>
            <a:cxnSpLocks/>
          </p:cNvCxnSpPr>
          <p:nvPr userDrawn="1"/>
        </p:nvCxnSpPr>
        <p:spPr>
          <a:xfrm>
            <a:off x="838202" y="2571727"/>
            <a:ext cx="6096000" cy="0"/>
          </a:xfrm>
          <a:prstGeom prst="line">
            <a:avLst/>
          </a:prstGeom>
          <a:ln w="57150">
            <a:solidFill>
              <a:srgbClr val="E2698B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B307982-FAD6-074D-B946-CD43C9E96A62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838201" y="4885433"/>
            <a:ext cx="2851482" cy="1019041"/>
          </a:xfrm>
          <a:noFill/>
          <a:ln>
            <a:noFill/>
          </a:ln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7" name="Picture 16" descr="A close up of a sign&#10;&#10;Description automatically generated">
            <a:extLst>
              <a:ext uri="{FF2B5EF4-FFF2-40B4-BE49-F238E27FC236}">
                <a16:creationId xmlns:a16="http://schemas.microsoft.com/office/drawing/2014/main" id="{4D79BB8F-B218-FA4E-B11C-9D00F361711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26750" y="107806"/>
            <a:ext cx="1054100" cy="741443"/>
          </a:xfrm>
          <a:prstGeom prst="rect">
            <a:avLst/>
          </a:prstGeom>
        </p:spPr>
      </p:pic>
      <p:sp>
        <p:nvSpPr>
          <p:cNvPr id="20" name="Picture Placeholder 15">
            <a:extLst>
              <a:ext uri="{FF2B5EF4-FFF2-40B4-BE49-F238E27FC236}">
                <a16:creationId xmlns:a16="http://schemas.microsoft.com/office/drawing/2014/main" id="{9F45DD27-197F-AE45-9009-F9535D6DAC1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792803" y="793"/>
            <a:ext cx="3776400" cy="2497764"/>
          </a:xfrm>
          <a:custGeom>
            <a:avLst/>
            <a:gdLst>
              <a:gd name="connsiteX0" fmla="*/ 0 w 3776400"/>
              <a:gd name="connsiteY0" fmla="*/ 1627200 h 3254400"/>
              <a:gd name="connsiteX1" fmla="*/ 813600 w 3776400"/>
              <a:gd name="connsiteY1" fmla="*/ 1 h 3254400"/>
              <a:gd name="connsiteX2" fmla="*/ 2962800 w 3776400"/>
              <a:gd name="connsiteY2" fmla="*/ 1 h 3254400"/>
              <a:gd name="connsiteX3" fmla="*/ 3776400 w 3776400"/>
              <a:gd name="connsiteY3" fmla="*/ 1627200 h 3254400"/>
              <a:gd name="connsiteX4" fmla="*/ 2962800 w 3776400"/>
              <a:gd name="connsiteY4" fmla="*/ 3254399 h 3254400"/>
              <a:gd name="connsiteX5" fmla="*/ 813600 w 3776400"/>
              <a:gd name="connsiteY5" fmla="*/ 3254399 h 3254400"/>
              <a:gd name="connsiteX6" fmla="*/ 0 w 3776400"/>
              <a:gd name="connsiteY6" fmla="*/ 1627200 h 3254400"/>
              <a:gd name="connsiteX0" fmla="*/ 0 w 3776400"/>
              <a:gd name="connsiteY0" fmla="*/ 1627199 h 3254398"/>
              <a:gd name="connsiteX1" fmla="*/ 433673 w 3776400"/>
              <a:gd name="connsiteY1" fmla="*/ 759853 h 3254398"/>
              <a:gd name="connsiteX2" fmla="*/ 2962800 w 3776400"/>
              <a:gd name="connsiteY2" fmla="*/ 0 h 3254398"/>
              <a:gd name="connsiteX3" fmla="*/ 3776400 w 3776400"/>
              <a:gd name="connsiteY3" fmla="*/ 1627199 h 3254398"/>
              <a:gd name="connsiteX4" fmla="*/ 2962800 w 3776400"/>
              <a:gd name="connsiteY4" fmla="*/ 3254398 h 3254398"/>
              <a:gd name="connsiteX5" fmla="*/ 813600 w 3776400"/>
              <a:gd name="connsiteY5" fmla="*/ 3254398 h 3254398"/>
              <a:gd name="connsiteX6" fmla="*/ 0 w 3776400"/>
              <a:gd name="connsiteY6" fmla="*/ 1627199 h 3254398"/>
              <a:gd name="connsiteX0" fmla="*/ 0 w 3776400"/>
              <a:gd name="connsiteY0" fmla="*/ 870565 h 2497764"/>
              <a:gd name="connsiteX1" fmla="*/ 433673 w 3776400"/>
              <a:gd name="connsiteY1" fmla="*/ 3219 h 2497764"/>
              <a:gd name="connsiteX2" fmla="*/ 3342727 w 3776400"/>
              <a:gd name="connsiteY2" fmla="*/ 0 h 2497764"/>
              <a:gd name="connsiteX3" fmla="*/ 3776400 w 3776400"/>
              <a:gd name="connsiteY3" fmla="*/ 870565 h 2497764"/>
              <a:gd name="connsiteX4" fmla="*/ 2962800 w 3776400"/>
              <a:gd name="connsiteY4" fmla="*/ 2497764 h 2497764"/>
              <a:gd name="connsiteX5" fmla="*/ 813600 w 3776400"/>
              <a:gd name="connsiteY5" fmla="*/ 2497764 h 2497764"/>
              <a:gd name="connsiteX6" fmla="*/ 0 w 3776400"/>
              <a:gd name="connsiteY6" fmla="*/ 870565 h 2497764"/>
              <a:gd name="connsiteX0" fmla="*/ 0 w 3776400"/>
              <a:gd name="connsiteY0" fmla="*/ 899543 h 2526742"/>
              <a:gd name="connsiteX1" fmla="*/ 449771 w 3776400"/>
              <a:gd name="connsiteY1" fmla="*/ 0 h 2526742"/>
              <a:gd name="connsiteX2" fmla="*/ 3342727 w 3776400"/>
              <a:gd name="connsiteY2" fmla="*/ 28978 h 2526742"/>
              <a:gd name="connsiteX3" fmla="*/ 3776400 w 3776400"/>
              <a:gd name="connsiteY3" fmla="*/ 899543 h 2526742"/>
              <a:gd name="connsiteX4" fmla="*/ 2962800 w 3776400"/>
              <a:gd name="connsiteY4" fmla="*/ 2526742 h 2526742"/>
              <a:gd name="connsiteX5" fmla="*/ 813600 w 3776400"/>
              <a:gd name="connsiteY5" fmla="*/ 2526742 h 2526742"/>
              <a:gd name="connsiteX6" fmla="*/ 0 w 3776400"/>
              <a:gd name="connsiteY6" fmla="*/ 899543 h 2526742"/>
              <a:gd name="connsiteX0" fmla="*/ 0 w 3776400"/>
              <a:gd name="connsiteY0" fmla="*/ 870565 h 2497764"/>
              <a:gd name="connsiteX1" fmla="*/ 433673 w 3776400"/>
              <a:gd name="connsiteY1" fmla="*/ 0 h 2497764"/>
              <a:gd name="connsiteX2" fmla="*/ 3342727 w 3776400"/>
              <a:gd name="connsiteY2" fmla="*/ 0 h 2497764"/>
              <a:gd name="connsiteX3" fmla="*/ 3776400 w 3776400"/>
              <a:gd name="connsiteY3" fmla="*/ 870565 h 2497764"/>
              <a:gd name="connsiteX4" fmla="*/ 2962800 w 3776400"/>
              <a:gd name="connsiteY4" fmla="*/ 2497764 h 2497764"/>
              <a:gd name="connsiteX5" fmla="*/ 813600 w 3776400"/>
              <a:gd name="connsiteY5" fmla="*/ 2497764 h 2497764"/>
              <a:gd name="connsiteX6" fmla="*/ 0 w 3776400"/>
              <a:gd name="connsiteY6" fmla="*/ 870565 h 2497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76400" h="2497764">
                <a:moveTo>
                  <a:pt x="0" y="870565"/>
                </a:moveTo>
                <a:lnTo>
                  <a:pt x="433673" y="0"/>
                </a:lnTo>
                <a:lnTo>
                  <a:pt x="3342727" y="0"/>
                </a:lnTo>
                <a:lnTo>
                  <a:pt x="3776400" y="870565"/>
                </a:lnTo>
                <a:lnTo>
                  <a:pt x="2962800" y="2497764"/>
                </a:lnTo>
                <a:lnTo>
                  <a:pt x="813600" y="2497764"/>
                </a:lnTo>
                <a:lnTo>
                  <a:pt x="0" y="870565"/>
                </a:lnTo>
                <a:close/>
              </a:path>
            </a:pathLst>
          </a:custGeom>
          <a:solidFill>
            <a:srgbClr val="006AB6">
              <a:alpha val="50000"/>
            </a:srgbClr>
          </a:solidFill>
        </p:spPr>
        <p:txBody>
          <a:bodyPr wrap="square">
            <a:noAutofit/>
          </a:bodyPr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2" name="Picture Placeholder 16">
            <a:extLst>
              <a:ext uri="{FF2B5EF4-FFF2-40B4-BE49-F238E27FC236}">
                <a16:creationId xmlns:a16="http://schemas.microsoft.com/office/drawing/2014/main" id="{DDF66B72-1EA9-1647-B4B1-42EF1C0C4FA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792803" y="2650075"/>
            <a:ext cx="3776400" cy="3254400"/>
          </a:xfrm>
          <a:prstGeom prst="hexagon">
            <a:avLst/>
          </a:prstGeom>
          <a:solidFill>
            <a:schemeClr val="accent4">
              <a:alpha val="50000"/>
            </a:schemeClr>
          </a:solidFill>
        </p:spPr>
        <p:txBody>
          <a:bodyPr wrap="square">
            <a:noAutofit/>
          </a:bodyPr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3" name="Picture Placeholder 18">
            <a:extLst>
              <a:ext uri="{FF2B5EF4-FFF2-40B4-BE49-F238E27FC236}">
                <a16:creationId xmlns:a16="http://schemas.microsoft.com/office/drawing/2014/main" id="{66B7EF39-CE66-114C-AD96-02EEBFE6B0B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895924" y="942666"/>
            <a:ext cx="2295491" cy="3254398"/>
          </a:xfrm>
          <a:custGeom>
            <a:avLst/>
            <a:gdLst>
              <a:gd name="connsiteX0" fmla="*/ 0 w 3776400"/>
              <a:gd name="connsiteY0" fmla="*/ 1627200 h 3254400"/>
              <a:gd name="connsiteX1" fmla="*/ 813600 w 3776400"/>
              <a:gd name="connsiteY1" fmla="*/ 1 h 3254400"/>
              <a:gd name="connsiteX2" fmla="*/ 2962800 w 3776400"/>
              <a:gd name="connsiteY2" fmla="*/ 1 h 3254400"/>
              <a:gd name="connsiteX3" fmla="*/ 3776400 w 3776400"/>
              <a:gd name="connsiteY3" fmla="*/ 1627200 h 3254400"/>
              <a:gd name="connsiteX4" fmla="*/ 2962800 w 3776400"/>
              <a:gd name="connsiteY4" fmla="*/ 3254399 h 3254400"/>
              <a:gd name="connsiteX5" fmla="*/ 813600 w 3776400"/>
              <a:gd name="connsiteY5" fmla="*/ 3254399 h 3254400"/>
              <a:gd name="connsiteX6" fmla="*/ 0 w 3776400"/>
              <a:gd name="connsiteY6" fmla="*/ 1627200 h 3254400"/>
              <a:gd name="connsiteX0" fmla="*/ 0 w 3776400"/>
              <a:gd name="connsiteY0" fmla="*/ 1627199 h 3254398"/>
              <a:gd name="connsiteX1" fmla="*/ 813600 w 3776400"/>
              <a:gd name="connsiteY1" fmla="*/ 0 h 3254398"/>
              <a:gd name="connsiteX2" fmla="*/ 2291514 w 3776400"/>
              <a:gd name="connsiteY2" fmla="*/ 0 h 3254398"/>
              <a:gd name="connsiteX3" fmla="*/ 3776400 w 3776400"/>
              <a:gd name="connsiteY3" fmla="*/ 1627199 h 3254398"/>
              <a:gd name="connsiteX4" fmla="*/ 2962800 w 3776400"/>
              <a:gd name="connsiteY4" fmla="*/ 3254398 h 3254398"/>
              <a:gd name="connsiteX5" fmla="*/ 813600 w 3776400"/>
              <a:gd name="connsiteY5" fmla="*/ 3254398 h 3254398"/>
              <a:gd name="connsiteX6" fmla="*/ 0 w 3776400"/>
              <a:gd name="connsiteY6" fmla="*/ 1627199 h 3254398"/>
              <a:gd name="connsiteX0" fmla="*/ 0 w 3776400"/>
              <a:gd name="connsiteY0" fmla="*/ 1627199 h 3254398"/>
              <a:gd name="connsiteX1" fmla="*/ 813600 w 3776400"/>
              <a:gd name="connsiteY1" fmla="*/ 0 h 3254398"/>
              <a:gd name="connsiteX2" fmla="*/ 2291514 w 3776400"/>
              <a:gd name="connsiteY2" fmla="*/ 0 h 3254398"/>
              <a:gd name="connsiteX3" fmla="*/ 3776400 w 3776400"/>
              <a:gd name="connsiteY3" fmla="*/ 1627199 h 3254398"/>
              <a:gd name="connsiteX4" fmla="*/ 2295142 w 3776400"/>
              <a:gd name="connsiteY4" fmla="*/ 3254398 h 3254398"/>
              <a:gd name="connsiteX5" fmla="*/ 813600 w 3776400"/>
              <a:gd name="connsiteY5" fmla="*/ 3254398 h 3254398"/>
              <a:gd name="connsiteX6" fmla="*/ 0 w 3776400"/>
              <a:gd name="connsiteY6" fmla="*/ 1627199 h 3254398"/>
              <a:gd name="connsiteX0" fmla="*/ 0 w 2295142"/>
              <a:gd name="connsiteY0" fmla="*/ 1627199 h 3254398"/>
              <a:gd name="connsiteX1" fmla="*/ 813600 w 2295142"/>
              <a:gd name="connsiteY1" fmla="*/ 0 h 3254398"/>
              <a:gd name="connsiteX2" fmla="*/ 2291514 w 2295142"/>
              <a:gd name="connsiteY2" fmla="*/ 0 h 3254398"/>
              <a:gd name="connsiteX3" fmla="*/ 2295142 w 2295142"/>
              <a:gd name="connsiteY3" fmla="*/ 3254398 h 3254398"/>
              <a:gd name="connsiteX4" fmla="*/ 813600 w 2295142"/>
              <a:gd name="connsiteY4" fmla="*/ 3254398 h 3254398"/>
              <a:gd name="connsiteX5" fmla="*/ 0 w 2295142"/>
              <a:gd name="connsiteY5" fmla="*/ 1627199 h 3254398"/>
              <a:gd name="connsiteX0" fmla="*/ 0 w 2465691"/>
              <a:gd name="connsiteY0" fmla="*/ 1627199 h 3254398"/>
              <a:gd name="connsiteX1" fmla="*/ 813600 w 2465691"/>
              <a:gd name="connsiteY1" fmla="*/ 0 h 3254398"/>
              <a:gd name="connsiteX2" fmla="*/ 2465685 w 2465691"/>
              <a:gd name="connsiteY2" fmla="*/ 0 h 3254398"/>
              <a:gd name="connsiteX3" fmla="*/ 2295142 w 2465691"/>
              <a:gd name="connsiteY3" fmla="*/ 3254398 h 3254398"/>
              <a:gd name="connsiteX4" fmla="*/ 813600 w 2465691"/>
              <a:gd name="connsiteY4" fmla="*/ 3254398 h 3254398"/>
              <a:gd name="connsiteX5" fmla="*/ 0 w 2465691"/>
              <a:gd name="connsiteY5" fmla="*/ 1627199 h 3254398"/>
              <a:gd name="connsiteX0" fmla="*/ 0 w 2295491"/>
              <a:gd name="connsiteY0" fmla="*/ 1627199 h 3254398"/>
              <a:gd name="connsiteX1" fmla="*/ 813600 w 2295491"/>
              <a:gd name="connsiteY1" fmla="*/ 0 h 3254398"/>
              <a:gd name="connsiteX2" fmla="*/ 2295142 w 2295491"/>
              <a:gd name="connsiteY2" fmla="*/ 0 h 3254398"/>
              <a:gd name="connsiteX3" fmla="*/ 2295142 w 2295491"/>
              <a:gd name="connsiteY3" fmla="*/ 3254398 h 3254398"/>
              <a:gd name="connsiteX4" fmla="*/ 813600 w 2295491"/>
              <a:gd name="connsiteY4" fmla="*/ 3254398 h 3254398"/>
              <a:gd name="connsiteX5" fmla="*/ 0 w 2295491"/>
              <a:gd name="connsiteY5" fmla="*/ 1627199 h 3254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95491" h="3254398">
                <a:moveTo>
                  <a:pt x="0" y="1627199"/>
                </a:moveTo>
                <a:lnTo>
                  <a:pt x="813600" y="0"/>
                </a:lnTo>
                <a:lnTo>
                  <a:pt x="2295142" y="0"/>
                </a:lnTo>
                <a:cubicBezTo>
                  <a:pt x="2296351" y="1084799"/>
                  <a:pt x="2293933" y="2169599"/>
                  <a:pt x="2295142" y="3254398"/>
                </a:cubicBezTo>
                <a:lnTo>
                  <a:pt x="813600" y="3254398"/>
                </a:lnTo>
                <a:lnTo>
                  <a:pt x="0" y="1627199"/>
                </a:lnTo>
                <a:close/>
              </a:path>
            </a:pathLst>
          </a:custGeom>
          <a:solidFill>
            <a:schemeClr val="accent6">
              <a:alpha val="50000"/>
            </a:schemeClr>
          </a:solidFill>
        </p:spPr>
        <p:txBody>
          <a:bodyPr wrap="square">
            <a:noAutofit/>
          </a:bodyPr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4" name="Picture Placeholder 15">
            <a:extLst>
              <a:ext uri="{FF2B5EF4-FFF2-40B4-BE49-F238E27FC236}">
                <a16:creationId xmlns:a16="http://schemas.microsoft.com/office/drawing/2014/main" id="{237BCD1F-9741-294B-A17B-37D46BC632A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689682" y="4348583"/>
            <a:ext cx="3776400" cy="2511448"/>
          </a:xfrm>
          <a:custGeom>
            <a:avLst/>
            <a:gdLst>
              <a:gd name="connsiteX0" fmla="*/ 0 w 3776400"/>
              <a:gd name="connsiteY0" fmla="*/ 1627200 h 3254400"/>
              <a:gd name="connsiteX1" fmla="*/ 813600 w 3776400"/>
              <a:gd name="connsiteY1" fmla="*/ 1 h 3254400"/>
              <a:gd name="connsiteX2" fmla="*/ 2962800 w 3776400"/>
              <a:gd name="connsiteY2" fmla="*/ 1 h 3254400"/>
              <a:gd name="connsiteX3" fmla="*/ 3776400 w 3776400"/>
              <a:gd name="connsiteY3" fmla="*/ 1627200 h 3254400"/>
              <a:gd name="connsiteX4" fmla="*/ 2962800 w 3776400"/>
              <a:gd name="connsiteY4" fmla="*/ 3254399 h 3254400"/>
              <a:gd name="connsiteX5" fmla="*/ 813600 w 3776400"/>
              <a:gd name="connsiteY5" fmla="*/ 3254399 h 3254400"/>
              <a:gd name="connsiteX6" fmla="*/ 0 w 3776400"/>
              <a:gd name="connsiteY6" fmla="*/ 1627200 h 3254400"/>
              <a:gd name="connsiteX0" fmla="*/ 0 w 3776400"/>
              <a:gd name="connsiteY0" fmla="*/ 1627199 h 3254398"/>
              <a:gd name="connsiteX1" fmla="*/ 813600 w 3776400"/>
              <a:gd name="connsiteY1" fmla="*/ 0 h 3254398"/>
              <a:gd name="connsiteX2" fmla="*/ 2962800 w 3776400"/>
              <a:gd name="connsiteY2" fmla="*/ 0 h 3254398"/>
              <a:gd name="connsiteX3" fmla="*/ 3776400 w 3776400"/>
              <a:gd name="connsiteY3" fmla="*/ 1627199 h 3254398"/>
              <a:gd name="connsiteX4" fmla="*/ 2962800 w 3776400"/>
              <a:gd name="connsiteY4" fmla="*/ 3254398 h 3254398"/>
              <a:gd name="connsiteX5" fmla="*/ 442125 w 3776400"/>
              <a:gd name="connsiteY5" fmla="*/ 2511448 h 3254398"/>
              <a:gd name="connsiteX6" fmla="*/ 0 w 3776400"/>
              <a:gd name="connsiteY6" fmla="*/ 1627199 h 3254398"/>
              <a:gd name="connsiteX0" fmla="*/ 0 w 3776400"/>
              <a:gd name="connsiteY0" fmla="*/ 1627199 h 2511448"/>
              <a:gd name="connsiteX1" fmla="*/ 813600 w 3776400"/>
              <a:gd name="connsiteY1" fmla="*/ 0 h 2511448"/>
              <a:gd name="connsiteX2" fmla="*/ 2962800 w 3776400"/>
              <a:gd name="connsiteY2" fmla="*/ 0 h 2511448"/>
              <a:gd name="connsiteX3" fmla="*/ 3776400 w 3776400"/>
              <a:gd name="connsiteY3" fmla="*/ 1627199 h 2511448"/>
              <a:gd name="connsiteX4" fmla="*/ 3331100 w 3776400"/>
              <a:gd name="connsiteY4" fmla="*/ 2511448 h 2511448"/>
              <a:gd name="connsiteX5" fmla="*/ 442125 w 3776400"/>
              <a:gd name="connsiteY5" fmla="*/ 2511448 h 2511448"/>
              <a:gd name="connsiteX6" fmla="*/ 0 w 3776400"/>
              <a:gd name="connsiteY6" fmla="*/ 1627199 h 2511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76400" h="2511448">
                <a:moveTo>
                  <a:pt x="0" y="1627199"/>
                </a:moveTo>
                <a:lnTo>
                  <a:pt x="813600" y="0"/>
                </a:lnTo>
                <a:lnTo>
                  <a:pt x="2962800" y="0"/>
                </a:lnTo>
                <a:lnTo>
                  <a:pt x="3776400" y="1627199"/>
                </a:lnTo>
                <a:lnTo>
                  <a:pt x="3331100" y="2511448"/>
                </a:lnTo>
                <a:lnTo>
                  <a:pt x="442125" y="2511448"/>
                </a:lnTo>
                <a:lnTo>
                  <a:pt x="0" y="1627199"/>
                </a:lnTo>
                <a:close/>
              </a:path>
            </a:pathLst>
          </a:custGeom>
          <a:solidFill>
            <a:schemeClr val="accent5">
              <a:alpha val="50000"/>
            </a:schemeClr>
          </a:solidFill>
        </p:spPr>
        <p:txBody>
          <a:bodyPr wrap="square">
            <a:noAutofit/>
          </a:bodyPr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5" name="Picture Placeholder 18">
            <a:extLst>
              <a:ext uri="{FF2B5EF4-FFF2-40B4-BE49-F238E27FC236}">
                <a16:creationId xmlns:a16="http://schemas.microsoft.com/office/drawing/2014/main" id="{D53107A5-0595-1D49-8868-CB253897D36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895923" y="4348582"/>
            <a:ext cx="2295491" cy="2511397"/>
          </a:xfrm>
          <a:custGeom>
            <a:avLst/>
            <a:gdLst>
              <a:gd name="connsiteX0" fmla="*/ 0 w 3776400"/>
              <a:gd name="connsiteY0" fmla="*/ 1627200 h 3254400"/>
              <a:gd name="connsiteX1" fmla="*/ 813600 w 3776400"/>
              <a:gd name="connsiteY1" fmla="*/ 1 h 3254400"/>
              <a:gd name="connsiteX2" fmla="*/ 2962800 w 3776400"/>
              <a:gd name="connsiteY2" fmla="*/ 1 h 3254400"/>
              <a:gd name="connsiteX3" fmla="*/ 3776400 w 3776400"/>
              <a:gd name="connsiteY3" fmla="*/ 1627200 h 3254400"/>
              <a:gd name="connsiteX4" fmla="*/ 2962800 w 3776400"/>
              <a:gd name="connsiteY4" fmla="*/ 3254399 h 3254400"/>
              <a:gd name="connsiteX5" fmla="*/ 813600 w 3776400"/>
              <a:gd name="connsiteY5" fmla="*/ 3254399 h 3254400"/>
              <a:gd name="connsiteX6" fmla="*/ 0 w 3776400"/>
              <a:gd name="connsiteY6" fmla="*/ 1627200 h 3254400"/>
              <a:gd name="connsiteX0" fmla="*/ 0 w 3776400"/>
              <a:gd name="connsiteY0" fmla="*/ 1627199 h 3254398"/>
              <a:gd name="connsiteX1" fmla="*/ 813600 w 3776400"/>
              <a:gd name="connsiteY1" fmla="*/ 0 h 3254398"/>
              <a:gd name="connsiteX2" fmla="*/ 2291514 w 3776400"/>
              <a:gd name="connsiteY2" fmla="*/ 0 h 3254398"/>
              <a:gd name="connsiteX3" fmla="*/ 3776400 w 3776400"/>
              <a:gd name="connsiteY3" fmla="*/ 1627199 h 3254398"/>
              <a:gd name="connsiteX4" fmla="*/ 2962800 w 3776400"/>
              <a:gd name="connsiteY4" fmla="*/ 3254398 h 3254398"/>
              <a:gd name="connsiteX5" fmla="*/ 813600 w 3776400"/>
              <a:gd name="connsiteY5" fmla="*/ 3254398 h 3254398"/>
              <a:gd name="connsiteX6" fmla="*/ 0 w 3776400"/>
              <a:gd name="connsiteY6" fmla="*/ 1627199 h 3254398"/>
              <a:gd name="connsiteX0" fmla="*/ 0 w 3776400"/>
              <a:gd name="connsiteY0" fmla="*/ 1627199 h 3254398"/>
              <a:gd name="connsiteX1" fmla="*/ 813600 w 3776400"/>
              <a:gd name="connsiteY1" fmla="*/ 0 h 3254398"/>
              <a:gd name="connsiteX2" fmla="*/ 2291514 w 3776400"/>
              <a:gd name="connsiteY2" fmla="*/ 0 h 3254398"/>
              <a:gd name="connsiteX3" fmla="*/ 3776400 w 3776400"/>
              <a:gd name="connsiteY3" fmla="*/ 1627199 h 3254398"/>
              <a:gd name="connsiteX4" fmla="*/ 2295142 w 3776400"/>
              <a:gd name="connsiteY4" fmla="*/ 3254398 h 3254398"/>
              <a:gd name="connsiteX5" fmla="*/ 813600 w 3776400"/>
              <a:gd name="connsiteY5" fmla="*/ 3254398 h 3254398"/>
              <a:gd name="connsiteX6" fmla="*/ 0 w 3776400"/>
              <a:gd name="connsiteY6" fmla="*/ 1627199 h 3254398"/>
              <a:gd name="connsiteX0" fmla="*/ 0 w 2295142"/>
              <a:gd name="connsiteY0" fmla="*/ 1627199 h 3254398"/>
              <a:gd name="connsiteX1" fmla="*/ 813600 w 2295142"/>
              <a:gd name="connsiteY1" fmla="*/ 0 h 3254398"/>
              <a:gd name="connsiteX2" fmla="*/ 2291514 w 2295142"/>
              <a:gd name="connsiteY2" fmla="*/ 0 h 3254398"/>
              <a:gd name="connsiteX3" fmla="*/ 2295142 w 2295142"/>
              <a:gd name="connsiteY3" fmla="*/ 3254398 h 3254398"/>
              <a:gd name="connsiteX4" fmla="*/ 813600 w 2295142"/>
              <a:gd name="connsiteY4" fmla="*/ 3254398 h 3254398"/>
              <a:gd name="connsiteX5" fmla="*/ 0 w 2295142"/>
              <a:gd name="connsiteY5" fmla="*/ 1627199 h 3254398"/>
              <a:gd name="connsiteX0" fmla="*/ 0 w 2465691"/>
              <a:gd name="connsiteY0" fmla="*/ 1627199 h 3254398"/>
              <a:gd name="connsiteX1" fmla="*/ 813600 w 2465691"/>
              <a:gd name="connsiteY1" fmla="*/ 0 h 3254398"/>
              <a:gd name="connsiteX2" fmla="*/ 2465685 w 2465691"/>
              <a:gd name="connsiteY2" fmla="*/ 0 h 3254398"/>
              <a:gd name="connsiteX3" fmla="*/ 2295142 w 2465691"/>
              <a:gd name="connsiteY3" fmla="*/ 3254398 h 3254398"/>
              <a:gd name="connsiteX4" fmla="*/ 813600 w 2465691"/>
              <a:gd name="connsiteY4" fmla="*/ 3254398 h 3254398"/>
              <a:gd name="connsiteX5" fmla="*/ 0 w 2465691"/>
              <a:gd name="connsiteY5" fmla="*/ 1627199 h 3254398"/>
              <a:gd name="connsiteX0" fmla="*/ 0 w 2295491"/>
              <a:gd name="connsiteY0" fmla="*/ 1627199 h 3254398"/>
              <a:gd name="connsiteX1" fmla="*/ 813600 w 2295491"/>
              <a:gd name="connsiteY1" fmla="*/ 0 h 3254398"/>
              <a:gd name="connsiteX2" fmla="*/ 2295142 w 2295491"/>
              <a:gd name="connsiteY2" fmla="*/ 0 h 3254398"/>
              <a:gd name="connsiteX3" fmla="*/ 2295142 w 2295491"/>
              <a:gd name="connsiteY3" fmla="*/ 3254398 h 3254398"/>
              <a:gd name="connsiteX4" fmla="*/ 813600 w 2295491"/>
              <a:gd name="connsiteY4" fmla="*/ 3254398 h 3254398"/>
              <a:gd name="connsiteX5" fmla="*/ 0 w 2295491"/>
              <a:gd name="connsiteY5" fmla="*/ 1627199 h 3254398"/>
              <a:gd name="connsiteX0" fmla="*/ 0 w 2295491"/>
              <a:gd name="connsiteY0" fmla="*/ 1627199 h 3254398"/>
              <a:gd name="connsiteX1" fmla="*/ 813600 w 2295491"/>
              <a:gd name="connsiteY1" fmla="*/ 0 h 3254398"/>
              <a:gd name="connsiteX2" fmla="*/ 2295142 w 2295491"/>
              <a:gd name="connsiteY2" fmla="*/ 0 h 3254398"/>
              <a:gd name="connsiteX3" fmla="*/ 2295142 w 2295491"/>
              <a:gd name="connsiteY3" fmla="*/ 3254398 h 3254398"/>
              <a:gd name="connsiteX4" fmla="*/ 446862 w 2295491"/>
              <a:gd name="connsiteY4" fmla="*/ 2520922 h 3254398"/>
              <a:gd name="connsiteX5" fmla="*/ 0 w 2295491"/>
              <a:gd name="connsiteY5" fmla="*/ 1627199 h 3254398"/>
              <a:gd name="connsiteX0" fmla="*/ 0 w 2295491"/>
              <a:gd name="connsiteY0" fmla="*/ 1627199 h 2520922"/>
              <a:gd name="connsiteX1" fmla="*/ 813600 w 2295491"/>
              <a:gd name="connsiteY1" fmla="*/ 0 h 2520922"/>
              <a:gd name="connsiteX2" fmla="*/ 2295142 w 2295491"/>
              <a:gd name="connsiteY2" fmla="*/ 0 h 2520922"/>
              <a:gd name="connsiteX3" fmla="*/ 2295142 w 2295491"/>
              <a:gd name="connsiteY3" fmla="*/ 2511142 h 2520922"/>
              <a:gd name="connsiteX4" fmla="*/ 446862 w 2295491"/>
              <a:gd name="connsiteY4" fmla="*/ 2520922 h 2520922"/>
              <a:gd name="connsiteX5" fmla="*/ 0 w 2295491"/>
              <a:gd name="connsiteY5" fmla="*/ 1627199 h 2520922"/>
              <a:gd name="connsiteX0" fmla="*/ 0 w 2295491"/>
              <a:gd name="connsiteY0" fmla="*/ 1627199 h 2590772"/>
              <a:gd name="connsiteX1" fmla="*/ 813600 w 2295491"/>
              <a:gd name="connsiteY1" fmla="*/ 0 h 2590772"/>
              <a:gd name="connsiteX2" fmla="*/ 2295142 w 2295491"/>
              <a:gd name="connsiteY2" fmla="*/ 0 h 2590772"/>
              <a:gd name="connsiteX3" fmla="*/ 2295142 w 2295491"/>
              <a:gd name="connsiteY3" fmla="*/ 2511142 h 2590772"/>
              <a:gd name="connsiteX4" fmla="*/ 481787 w 2295491"/>
              <a:gd name="connsiteY4" fmla="*/ 2590772 h 2590772"/>
              <a:gd name="connsiteX5" fmla="*/ 0 w 2295491"/>
              <a:gd name="connsiteY5" fmla="*/ 1627199 h 2590772"/>
              <a:gd name="connsiteX0" fmla="*/ 0 w 2295491"/>
              <a:gd name="connsiteY0" fmla="*/ 1627199 h 2511142"/>
              <a:gd name="connsiteX1" fmla="*/ 813600 w 2295491"/>
              <a:gd name="connsiteY1" fmla="*/ 0 h 2511142"/>
              <a:gd name="connsiteX2" fmla="*/ 2295142 w 2295491"/>
              <a:gd name="connsiteY2" fmla="*/ 0 h 2511142"/>
              <a:gd name="connsiteX3" fmla="*/ 2295142 w 2295491"/>
              <a:gd name="connsiteY3" fmla="*/ 2511142 h 2511142"/>
              <a:gd name="connsiteX4" fmla="*/ 440512 w 2295491"/>
              <a:gd name="connsiteY4" fmla="*/ 2508222 h 2511142"/>
              <a:gd name="connsiteX5" fmla="*/ 0 w 2295491"/>
              <a:gd name="connsiteY5" fmla="*/ 1627199 h 2511142"/>
              <a:gd name="connsiteX0" fmla="*/ 0 w 2295491"/>
              <a:gd name="connsiteY0" fmla="*/ 1627199 h 2511142"/>
              <a:gd name="connsiteX1" fmla="*/ 813600 w 2295491"/>
              <a:gd name="connsiteY1" fmla="*/ 0 h 2511142"/>
              <a:gd name="connsiteX2" fmla="*/ 2295142 w 2295491"/>
              <a:gd name="connsiteY2" fmla="*/ 0 h 2511142"/>
              <a:gd name="connsiteX3" fmla="*/ 2295142 w 2295491"/>
              <a:gd name="connsiteY3" fmla="*/ 2511142 h 2511142"/>
              <a:gd name="connsiteX4" fmla="*/ 440512 w 2295491"/>
              <a:gd name="connsiteY4" fmla="*/ 2508222 h 2511142"/>
              <a:gd name="connsiteX5" fmla="*/ 0 w 2295491"/>
              <a:gd name="connsiteY5" fmla="*/ 1627199 h 2511142"/>
              <a:gd name="connsiteX0" fmla="*/ 0 w 2295491"/>
              <a:gd name="connsiteY0" fmla="*/ 1627199 h 2520922"/>
              <a:gd name="connsiteX1" fmla="*/ 813600 w 2295491"/>
              <a:gd name="connsiteY1" fmla="*/ 0 h 2520922"/>
              <a:gd name="connsiteX2" fmla="*/ 2295142 w 2295491"/>
              <a:gd name="connsiteY2" fmla="*/ 0 h 2520922"/>
              <a:gd name="connsiteX3" fmla="*/ 2295142 w 2295491"/>
              <a:gd name="connsiteY3" fmla="*/ 2511142 h 2520922"/>
              <a:gd name="connsiteX4" fmla="*/ 443687 w 2295491"/>
              <a:gd name="connsiteY4" fmla="*/ 2520922 h 2520922"/>
              <a:gd name="connsiteX5" fmla="*/ 0 w 2295491"/>
              <a:gd name="connsiteY5" fmla="*/ 1627199 h 2520922"/>
              <a:gd name="connsiteX0" fmla="*/ 0 w 2295491"/>
              <a:gd name="connsiteY0" fmla="*/ 1627199 h 2511397"/>
              <a:gd name="connsiteX1" fmla="*/ 813600 w 2295491"/>
              <a:gd name="connsiteY1" fmla="*/ 0 h 2511397"/>
              <a:gd name="connsiteX2" fmla="*/ 2295142 w 2295491"/>
              <a:gd name="connsiteY2" fmla="*/ 0 h 2511397"/>
              <a:gd name="connsiteX3" fmla="*/ 2295142 w 2295491"/>
              <a:gd name="connsiteY3" fmla="*/ 2511142 h 2511397"/>
              <a:gd name="connsiteX4" fmla="*/ 437337 w 2295491"/>
              <a:gd name="connsiteY4" fmla="*/ 2511397 h 2511397"/>
              <a:gd name="connsiteX5" fmla="*/ 0 w 2295491"/>
              <a:gd name="connsiteY5" fmla="*/ 1627199 h 2511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95491" h="2511397">
                <a:moveTo>
                  <a:pt x="0" y="1627199"/>
                </a:moveTo>
                <a:lnTo>
                  <a:pt x="813600" y="0"/>
                </a:lnTo>
                <a:lnTo>
                  <a:pt x="2295142" y="0"/>
                </a:lnTo>
                <a:cubicBezTo>
                  <a:pt x="2296351" y="1084799"/>
                  <a:pt x="2293933" y="1426343"/>
                  <a:pt x="2295142" y="2511142"/>
                </a:cubicBezTo>
                <a:lnTo>
                  <a:pt x="437337" y="2511397"/>
                </a:lnTo>
                <a:lnTo>
                  <a:pt x="0" y="1627199"/>
                </a:lnTo>
                <a:close/>
              </a:path>
            </a:pathLst>
          </a:custGeom>
          <a:solidFill>
            <a:schemeClr val="accent1">
              <a:alpha val="50000"/>
            </a:schemeClr>
          </a:solidFill>
        </p:spPr>
        <p:txBody>
          <a:bodyPr wrap="square">
            <a:noAutofit/>
          </a:bodyPr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353716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19100" y="1579034"/>
            <a:ext cx="11353800" cy="4487333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/>
              <a:t>Cliquez pour modifier le text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  <a:p>
            <a:pPr lvl="5"/>
            <a:r>
              <a:rPr lang="fr-FR" noProof="0"/>
              <a:t>Sixième niveau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/>
              <a:t>Cliquez pour modifier le 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3700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9102" y="357719"/>
            <a:ext cx="6437997" cy="3069165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7333" baseline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Cliquez pour modifier le titr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7734300" y="355602"/>
            <a:ext cx="4038600" cy="453813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/>
              <a:t>Cliquez pour modifier le texte</a:t>
            </a:r>
          </a:p>
          <a:p>
            <a:pPr lvl="1"/>
            <a:r>
              <a:rPr lang="fr-FR" noProof="0"/>
              <a:t>Deuxième niveau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4250" y="3605525"/>
            <a:ext cx="6441580" cy="1288208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241294" indent="-241294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542386" indent="-254394" algn="l">
              <a:spcBef>
                <a:spcPts val="448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791980" indent="-230394" algn="l">
              <a:spcBef>
                <a:spcPts val="32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1065573" indent="-254394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Cliquez pour modifier le nom du présentateur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418048" y="5645152"/>
            <a:ext cx="817033" cy="817033"/>
            <a:chOff x="313535" y="4233863"/>
            <a:chExt cx="612775" cy="612775"/>
          </a:xfrm>
        </p:grpSpPr>
        <p:sp>
          <p:nvSpPr>
            <p:cNvPr id="43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44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66 w 93"/>
                <a:gd name="T1" fmla="*/ 99 h 109"/>
                <a:gd name="T2" fmla="*/ 31 w 93"/>
                <a:gd name="T3" fmla="*/ 109 h 109"/>
                <a:gd name="T4" fmla="*/ 0 w 93"/>
                <a:gd name="T5" fmla="*/ 79 h 109"/>
                <a:gd name="T6" fmla="*/ 66 w 93"/>
                <a:gd name="T7" fmla="*/ 37 h 109"/>
                <a:gd name="T8" fmla="*/ 66 w 93"/>
                <a:gd name="T9" fmla="*/ 32 h 109"/>
                <a:gd name="T10" fmla="*/ 49 w 93"/>
                <a:gd name="T11" fmla="*/ 19 h 109"/>
                <a:gd name="T12" fmla="*/ 24 w 93"/>
                <a:gd name="T13" fmla="*/ 32 h 109"/>
                <a:gd name="T14" fmla="*/ 5 w 93"/>
                <a:gd name="T15" fmla="*/ 21 h 109"/>
                <a:gd name="T16" fmla="*/ 50 w 93"/>
                <a:gd name="T17" fmla="*/ 0 h 109"/>
                <a:gd name="T18" fmla="*/ 93 w 93"/>
                <a:gd name="T19" fmla="*/ 32 h 109"/>
                <a:gd name="T20" fmla="*/ 93 w 93"/>
                <a:gd name="T21" fmla="*/ 108 h 109"/>
                <a:gd name="T22" fmla="*/ 68 w 93"/>
                <a:gd name="T23" fmla="*/ 108 h 109"/>
                <a:gd name="T24" fmla="*/ 66 w 93"/>
                <a:gd name="T25" fmla="*/ 99 h 109"/>
                <a:gd name="T26" fmla="*/ 27 w 93"/>
                <a:gd name="T27" fmla="*/ 77 h 109"/>
                <a:gd name="T28" fmla="*/ 39 w 93"/>
                <a:gd name="T29" fmla="*/ 90 h 109"/>
                <a:gd name="T30" fmla="*/ 65 w 93"/>
                <a:gd name="T31" fmla="*/ 79 h 109"/>
                <a:gd name="T32" fmla="*/ 65 w 93"/>
                <a:gd name="T33" fmla="*/ 54 h 109"/>
                <a:gd name="T34" fmla="*/ 27 w 93"/>
                <a:gd name="T35" fmla="*/ 7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45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5 h 108"/>
                <a:gd name="T2" fmla="*/ 23 w 94"/>
                <a:gd name="T3" fmla="*/ 2 h 108"/>
                <a:gd name="T4" fmla="*/ 25 w 94"/>
                <a:gd name="T5" fmla="*/ 15 h 108"/>
                <a:gd name="T6" fmla="*/ 61 w 94"/>
                <a:gd name="T7" fmla="*/ 0 h 108"/>
                <a:gd name="T8" fmla="*/ 94 w 94"/>
                <a:gd name="T9" fmla="*/ 34 h 108"/>
                <a:gd name="T10" fmla="*/ 94 w 94"/>
                <a:gd name="T11" fmla="*/ 108 h 108"/>
                <a:gd name="T12" fmla="*/ 66 w 94"/>
                <a:gd name="T13" fmla="*/ 108 h 108"/>
                <a:gd name="T14" fmla="*/ 66 w 94"/>
                <a:gd name="T15" fmla="*/ 39 h 108"/>
                <a:gd name="T16" fmla="*/ 53 w 94"/>
                <a:gd name="T17" fmla="*/ 21 h 108"/>
                <a:gd name="T18" fmla="*/ 27 w 94"/>
                <a:gd name="T19" fmla="*/ 32 h 108"/>
                <a:gd name="T20" fmla="*/ 27 w 94"/>
                <a:gd name="T21" fmla="*/ 108 h 108"/>
                <a:gd name="T22" fmla="*/ 0 w 94"/>
                <a:gd name="T23" fmla="*/ 108 h 108"/>
                <a:gd name="T24" fmla="*/ 0 w 94"/>
                <a:gd name="T25" fmla="*/ 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46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50 w 98"/>
                <a:gd name="T1" fmla="*/ 110 h 110"/>
                <a:gd name="T2" fmla="*/ 0 w 98"/>
                <a:gd name="T3" fmla="*/ 55 h 110"/>
                <a:gd name="T4" fmla="*/ 49 w 98"/>
                <a:gd name="T5" fmla="*/ 0 h 110"/>
                <a:gd name="T6" fmla="*/ 98 w 98"/>
                <a:gd name="T7" fmla="*/ 54 h 110"/>
                <a:gd name="T8" fmla="*/ 97 w 98"/>
                <a:gd name="T9" fmla="*/ 59 h 110"/>
                <a:gd name="T10" fmla="*/ 27 w 98"/>
                <a:gd name="T11" fmla="*/ 59 h 110"/>
                <a:gd name="T12" fmla="*/ 52 w 98"/>
                <a:gd name="T13" fmla="*/ 89 h 110"/>
                <a:gd name="T14" fmla="*/ 76 w 98"/>
                <a:gd name="T15" fmla="*/ 76 h 110"/>
                <a:gd name="T16" fmla="*/ 96 w 98"/>
                <a:gd name="T17" fmla="*/ 87 h 110"/>
                <a:gd name="T18" fmla="*/ 50 w 98"/>
                <a:gd name="T19" fmla="*/ 110 h 110"/>
                <a:gd name="T20" fmla="*/ 70 w 98"/>
                <a:gd name="T21" fmla="*/ 41 h 110"/>
                <a:gd name="T22" fmla="*/ 49 w 98"/>
                <a:gd name="T23" fmla="*/ 19 h 110"/>
                <a:gd name="T24" fmla="*/ 28 w 98"/>
                <a:gd name="T25" fmla="*/ 41 h 110"/>
                <a:gd name="T26" fmla="*/ 70 w 98"/>
                <a:gd name="T27" fmla="*/ 4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47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52 w 104"/>
                <a:gd name="T1" fmla="*/ 111 h 111"/>
                <a:gd name="T2" fmla="*/ 0 w 104"/>
                <a:gd name="T3" fmla="*/ 55 h 111"/>
                <a:gd name="T4" fmla="*/ 52 w 104"/>
                <a:gd name="T5" fmla="*/ 0 h 111"/>
                <a:gd name="T6" fmla="*/ 104 w 104"/>
                <a:gd name="T7" fmla="*/ 55 h 111"/>
                <a:gd name="T8" fmla="*/ 52 w 104"/>
                <a:gd name="T9" fmla="*/ 111 h 111"/>
                <a:gd name="T10" fmla="*/ 52 w 104"/>
                <a:gd name="T11" fmla="*/ 23 h 111"/>
                <a:gd name="T12" fmla="*/ 28 w 104"/>
                <a:gd name="T13" fmla="*/ 55 h 111"/>
                <a:gd name="T14" fmla="*/ 52 w 104"/>
                <a:gd name="T15" fmla="*/ 87 h 111"/>
                <a:gd name="T16" fmla="*/ 77 w 104"/>
                <a:gd name="T17" fmla="*/ 55 h 111"/>
                <a:gd name="T18" fmla="*/ 52 w 104"/>
                <a:gd name="T19" fmla="*/ 2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48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3 h 108"/>
                <a:gd name="T2" fmla="*/ 26 w 59"/>
                <a:gd name="T3" fmla="*/ 3 h 108"/>
                <a:gd name="T4" fmla="*/ 26 w 59"/>
                <a:gd name="T5" fmla="*/ 15 h 108"/>
                <a:gd name="T6" fmla="*/ 55 w 59"/>
                <a:gd name="T7" fmla="*/ 0 h 108"/>
                <a:gd name="T8" fmla="*/ 59 w 59"/>
                <a:gd name="T9" fmla="*/ 1 h 108"/>
                <a:gd name="T10" fmla="*/ 59 w 59"/>
                <a:gd name="T11" fmla="*/ 27 h 108"/>
                <a:gd name="T12" fmla="*/ 58 w 59"/>
                <a:gd name="T13" fmla="*/ 27 h 108"/>
                <a:gd name="T14" fmla="*/ 28 w 59"/>
                <a:gd name="T15" fmla="*/ 38 h 108"/>
                <a:gd name="T16" fmla="*/ 28 w 59"/>
                <a:gd name="T17" fmla="*/ 108 h 108"/>
                <a:gd name="T18" fmla="*/ 0 w 59"/>
                <a:gd name="T19" fmla="*/ 108 h 108"/>
                <a:gd name="T20" fmla="*/ 0 w 59"/>
                <a:gd name="T21" fmla="*/ 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49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49 w 98"/>
                <a:gd name="T1" fmla="*/ 85 h 149"/>
                <a:gd name="T2" fmla="*/ 72 w 98"/>
                <a:gd name="T3" fmla="*/ 50 h 149"/>
                <a:gd name="T4" fmla="*/ 49 w 98"/>
                <a:gd name="T5" fmla="*/ 20 h 149"/>
                <a:gd name="T6" fmla="*/ 28 w 98"/>
                <a:gd name="T7" fmla="*/ 51 h 149"/>
                <a:gd name="T8" fmla="*/ 49 w 98"/>
                <a:gd name="T9" fmla="*/ 85 h 149"/>
                <a:gd name="T10" fmla="*/ 98 w 98"/>
                <a:gd name="T11" fmla="*/ 2 h 149"/>
                <a:gd name="T12" fmla="*/ 98 w 98"/>
                <a:gd name="T13" fmla="*/ 102 h 149"/>
                <a:gd name="T14" fmla="*/ 47 w 98"/>
                <a:gd name="T15" fmla="*/ 149 h 149"/>
                <a:gd name="T16" fmla="*/ 3 w 98"/>
                <a:gd name="T17" fmla="*/ 123 h 149"/>
                <a:gd name="T18" fmla="*/ 30 w 98"/>
                <a:gd name="T19" fmla="*/ 118 h 149"/>
                <a:gd name="T20" fmla="*/ 50 w 98"/>
                <a:gd name="T21" fmla="*/ 128 h 149"/>
                <a:gd name="T22" fmla="*/ 72 w 98"/>
                <a:gd name="T23" fmla="*/ 105 h 149"/>
                <a:gd name="T24" fmla="*/ 72 w 98"/>
                <a:gd name="T25" fmla="*/ 93 h 149"/>
                <a:gd name="T26" fmla="*/ 71 w 98"/>
                <a:gd name="T27" fmla="*/ 92 h 149"/>
                <a:gd name="T28" fmla="*/ 44 w 98"/>
                <a:gd name="T29" fmla="*/ 108 h 149"/>
                <a:gd name="T30" fmla="*/ 0 w 98"/>
                <a:gd name="T31" fmla="*/ 55 h 149"/>
                <a:gd name="T32" fmla="*/ 42 w 98"/>
                <a:gd name="T33" fmla="*/ 0 h 149"/>
                <a:gd name="T34" fmla="*/ 73 w 98"/>
                <a:gd name="T35" fmla="*/ 15 h 149"/>
                <a:gd name="T36" fmla="*/ 73 w 98"/>
                <a:gd name="T37" fmla="*/ 15 h 149"/>
                <a:gd name="T38" fmla="*/ 75 w 98"/>
                <a:gd name="T39" fmla="*/ 2 h 149"/>
                <a:gd name="T40" fmla="*/ 98 w 98"/>
                <a:gd name="T41" fmla="*/ 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50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14 w 37"/>
                <a:gd name="T1" fmla="*/ 2 h 17"/>
                <a:gd name="T2" fmla="*/ 9 w 37"/>
                <a:gd name="T3" fmla="*/ 2 h 17"/>
                <a:gd name="T4" fmla="*/ 9 w 37"/>
                <a:gd name="T5" fmla="*/ 17 h 17"/>
                <a:gd name="T6" fmla="*/ 6 w 37"/>
                <a:gd name="T7" fmla="*/ 17 h 17"/>
                <a:gd name="T8" fmla="*/ 6 w 37"/>
                <a:gd name="T9" fmla="*/ 2 h 17"/>
                <a:gd name="T10" fmla="*/ 0 w 37"/>
                <a:gd name="T11" fmla="*/ 2 h 17"/>
                <a:gd name="T12" fmla="*/ 0 w 37"/>
                <a:gd name="T13" fmla="*/ 0 h 17"/>
                <a:gd name="T14" fmla="*/ 14 w 37"/>
                <a:gd name="T15" fmla="*/ 0 h 17"/>
                <a:gd name="T16" fmla="*/ 14 w 37"/>
                <a:gd name="T17" fmla="*/ 2 h 17"/>
                <a:gd name="T18" fmla="*/ 37 w 37"/>
                <a:gd name="T19" fmla="*/ 17 h 17"/>
                <a:gd name="T20" fmla="*/ 34 w 37"/>
                <a:gd name="T21" fmla="*/ 17 h 17"/>
                <a:gd name="T22" fmla="*/ 34 w 37"/>
                <a:gd name="T23" fmla="*/ 2 h 17"/>
                <a:gd name="T24" fmla="*/ 34 w 37"/>
                <a:gd name="T25" fmla="*/ 2 h 17"/>
                <a:gd name="T26" fmla="*/ 29 w 37"/>
                <a:gd name="T27" fmla="*/ 17 h 17"/>
                <a:gd name="T28" fmla="*/ 27 w 37"/>
                <a:gd name="T29" fmla="*/ 17 h 17"/>
                <a:gd name="T30" fmla="*/ 21 w 37"/>
                <a:gd name="T31" fmla="*/ 2 h 17"/>
                <a:gd name="T32" fmla="*/ 20 w 37"/>
                <a:gd name="T33" fmla="*/ 2 h 17"/>
                <a:gd name="T34" fmla="*/ 20 w 37"/>
                <a:gd name="T35" fmla="*/ 17 h 17"/>
                <a:gd name="T36" fmla="*/ 18 w 37"/>
                <a:gd name="T37" fmla="*/ 17 h 17"/>
                <a:gd name="T38" fmla="*/ 18 w 37"/>
                <a:gd name="T39" fmla="*/ 0 h 17"/>
                <a:gd name="T40" fmla="*/ 22 w 37"/>
                <a:gd name="T41" fmla="*/ 0 h 17"/>
                <a:gd name="T42" fmla="*/ 28 w 37"/>
                <a:gd name="T43" fmla="*/ 13 h 17"/>
                <a:gd name="T44" fmla="*/ 33 w 37"/>
                <a:gd name="T45" fmla="*/ 0 h 17"/>
                <a:gd name="T46" fmla="*/ 37 w 37"/>
                <a:gd name="T47" fmla="*/ 0 h 17"/>
                <a:gd name="T48" fmla="*/ 37 w 37"/>
                <a:gd name="T4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1293301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19101" y="357717"/>
            <a:ext cx="11353799" cy="5708649"/>
          </a:xfrm>
        </p:spPr>
        <p:txBody>
          <a:bodyPr/>
          <a:lstStyle>
            <a:lvl1pPr>
              <a:spcBef>
                <a:spcPts val="0"/>
              </a:spcBef>
              <a:defRPr sz="4000"/>
            </a:lvl1pPr>
            <a:lvl2pPr marL="478355" indent="-478355">
              <a:spcBef>
                <a:spcPts val="0"/>
              </a:spcBef>
              <a:buClrTx/>
              <a:buSzPct val="100000"/>
              <a:buFont typeface="+mj-lt"/>
              <a:buAutoNum type="arabicPeriod"/>
              <a:defRPr sz="40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fr-FR" noProof="0"/>
              <a:t>Cliquez pour modifier le contenu</a:t>
            </a:r>
          </a:p>
          <a:p>
            <a:pPr lvl="1"/>
            <a:r>
              <a:rPr lang="fr-FR" noProof="0"/>
              <a:t>Deuxième niveau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26060" y="6332195"/>
            <a:ext cx="981038" cy="1642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kumimoji="0" lang="fr-FR" sz="1067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773111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18359" y="357717"/>
            <a:ext cx="8129119" cy="5708649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buNone/>
              <a:defRPr sz="7333" baseline="0"/>
            </a:lvl1pPr>
            <a:lvl2pPr>
              <a:lnSpc>
                <a:spcPct val="85000"/>
              </a:lnSpc>
              <a:spcBef>
                <a:spcPts val="0"/>
              </a:spcBef>
              <a:defRPr sz="7333"/>
            </a:lvl2pPr>
            <a:lvl3pPr>
              <a:defRPr sz="7333"/>
            </a:lvl3pPr>
            <a:lvl4pPr>
              <a:defRPr sz="7333"/>
            </a:lvl4pPr>
            <a:lvl5pPr>
              <a:defRPr sz="7333"/>
            </a:lvl5pPr>
          </a:lstStyle>
          <a:p>
            <a:pPr lvl="0"/>
            <a:r>
              <a:rPr lang="fr-FR" noProof="0"/>
              <a:t>Cliquez pour modifier le nom de la section </a:t>
            </a:r>
          </a:p>
          <a:p>
            <a:pPr lvl="1"/>
            <a:r>
              <a:rPr lang="fr-FR" noProof="0"/>
              <a:t>Deuxième niveau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826060" y="6332195"/>
            <a:ext cx="981038" cy="1642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kumimoji="0" lang="fr-FR" sz="1067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602716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19101" y="1579034"/>
            <a:ext cx="5289240" cy="4487332"/>
          </a:xfrm>
        </p:spPr>
        <p:txBody>
          <a:bodyPr>
            <a:normAutofit/>
          </a:bodyPr>
          <a:lstStyle>
            <a:lvl1pPr>
              <a:defRPr sz="1867" baseline="0"/>
            </a:lvl1pPr>
            <a:lvl2pPr>
              <a:defRPr sz="1867" baseline="0">
                <a:solidFill>
                  <a:schemeClr val="tx1"/>
                </a:solidFill>
              </a:defRPr>
            </a:lvl2pPr>
            <a:lvl3pPr>
              <a:defRPr sz="1867" baseline="0">
                <a:solidFill>
                  <a:schemeClr val="tx1"/>
                </a:solidFill>
              </a:defRPr>
            </a:lvl3pPr>
            <a:lvl4pPr>
              <a:defRPr sz="1867" baseline="0">
                <a:solidFill>
                  <a:schemeClr val="tx1"/>
                </a:solidFill>
              </a:defRPr>
            </a:lvl4pPr>
            <a:lvl5pPr>
              <a:defRPr sz="1867" baseline="0">
                <a:solidFill>
                  <a:schemeClr val="tx1"/>
                </a:solidFill>
              </a:defRPr>
            </a:lvl5pPr>
            <a:lvl6pPr>
              <a:defRPr sz="1867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noProof="0"/>
              <a:t>Cliquez pour modifier le text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  <a:p>
            <a:pPr lvl="5"/>
            <a:r>
              <a:rPr lang="fr-FR" noProof="0"/>
              <a:t>Sixièm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6393" y="1578264"/>
            <a:ext cx="5286507" cy="4485891"/>
          </a:xfrm>
        </p:spPr>
        <p:txBody>
          <a:bodyPr>
            <a:normAutofit/>
          </a:bodyPr>
          <a:lstStyle>
            <a:lvl1pPr>
              <a:defRPr sz="1867"/>
            </a:lvl1pPr>
            <a:lvl2pPr>
              <a:defRPr sz="1867">
                <a:solidFill>
                  <a:schemeClr val="tx1"/>
                </a:solidFill>
              </a:defRPr>
            </a:lvl2pPr>
            <a:lvl3pPr>
              <a:defRPr sz="1867">
                <a:solidFill>
                  <a:schemeClr val="tx1"/>
                </a:solidFill>
              </a:defRPr>
            </a:lvl3pPr>
            <a:lvl4pPr>
              <a:defRPr sz="1867">
                <a:solidFill>
                  <a:schemeClr val="tx1"/>
                </a:solidFill>
              </a:defRPr>
            </a:lvl4pPr>
            <a:lvl5pPr>
              <a:defRPr sz="1867">
                <a:solidFill>
                  <a:schemeClr val="tx1"/>
                </a:solidFill>
              </a:defRPr>
            </a:lvl5pPr>
            <a:lvl6pPr>
              <a:defRPr sz="1867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noProof="0"/>
              <a:t>Cliquez pour modifier le text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  <a:p>
            <a:pPr lvl="5"/>
            <a:r>
              <a:rPr lang="fr-FR" noProof="0"/>
              <a:t>Sixième niveau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/>
              <a:t>Cliquez pour modifier le titre</a:t>
            </a:r>
            <a:endParaRPr lang="en-GB"/>
          </a:p>
        </p:txBody>
      </p:sp>
      <p:sp>
        <p:nvSpPr>
          <p:cNvPr id="7" name="TextBox 6"/>
          <p:cNvSpPr txBox="1"/>
          <p:nvPr userDrawn="1"/>
        </p:nvSpPr>
        <p:spPr>
          <a:xfrm>
            <a:off x="826060" y="6332195"/>
            <a:ext cx="981038" cy="1642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kumimoji="0" lang="fr-FR" sz="1067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1815603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/>
              <a:t>Cliquez pour modifier le titr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26060" y="6332195"/>
            <a:ext cx="981038" cy="1642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kumimoji="0" lang="fr-FR" sz="1067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3971810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pleine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fr-FR" noProof="0"/>
              <a:t>Cliquez sur l'icône pour ajouter une photo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Cliquez pour modifier le 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1688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86020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xagon 12">
            <a:extLst>
              <a:ext uri="{FF2B5EF4-FFF2-40B4-BE49-F238E27FC236}">
                <a16:creationId xmlns:a16="http://schemas.microsoft.com/office/drawing/2014/main" id="{6CF1BB33-EC0E-F84A-A1EC-5DEF44B4E37B}"/>
              </a:ext>
            </a:extLst>
          </p:cNvPr>
          <p:cNvSpPr/>
          <p:nvPr userDrawn="1"/>
        </p:nvSpPr>
        <p:spPr>
          <a:xfrm>
            <a:off x="-1350" y="-3364"/>
            <a:ext cx="4575076" cy="965398"/>
          </a:xfrm>
          <a:custGeom>
            <a:avLst/>
            <a:gdLst>
              <a:gd name="connsiteX0" fmla="*/ 0 w 9777166"/>
              <a:gd name="connsiteY0" fmla="*/ 4214296 h 8428591"/>
              <a:gd name="connsiteX1" fmla="*/ 2107148 w 9777166"/>
              <a:gd name="connsiteY1" fmla="*/ 2 h 8428591"/>
              <a:gd name="connsiteX2" fmla="*/ 7670018 w 9777166"/>
              <a:gd name="connsiteY2" fmla="*/ 2 h 8428591"/>
              <a:gd name="connsiteX3" fmla="*/ 9777166 w 9777166"/>
              <a:gd name="connsiteY3" fmla="*/ 4214296 h 8428591"/>
              <a:gd name="connsiteX4" fmla="*/ 7670018 w 9777166"/>
              <a:gd name="connsiteY4" fmla="*/ 8428589 h 8428591"/>
              <a:gd name="connsiteX5" fmla="*/ 2107148 w 9777166"/>
              <a:gd name="connsiteY5" fmla="*/ 8428589 h 8428591"/>
              <a:gd name="connsiteX6" fmla="*/ 0 w 9777166"/>
              <a:gd name="connsiteY6" fmla="*/ 4214296 h 8428591"/>
              <a:gd name="connsiteX0" fmla="*/ 0 w 8368990"/>
              <a:gd name="connsiteY0" fmla="*/ 4214294 h 8428587"/>
              <a:gd name="connsiteX1" fmla="*/ 2107148 w 8368990"/>
              <a:gd name="connsiteY1" fmla="*/ 0 h 8428587"/>
              <a:gd name="connsiteX2" fmla="*/ 7670018 w 8368990"/>
              <a:gd name="connsiteY2" fmla="*/ 0 h 8428587"/>
              <a:gd name="connsiteX3" fmla="*/ 8368990 w 8368990"/>
              <a:gd name="connsiteY3" fmla="*/ 7039790 h 8428587"/>
              <a:gd name="connsiteX4" fmla="*/ 7670018 w 8368990"/>
              <a:gd name="connsiteY4" fmla="*/ 8428587 h 8428587"/>
              <a:gd name="connsiteX5" fmla="*/ 2107148 w 8368990"/>
              <a:gd name="connsiteY5" fmla="*/ 8428587 h 8428587"/>
              <a:gd name="connsiteX6" fmla="*/ 0 w 8368990"/>
              <a:gd name="connsiteY6" fmla="*/ 4214294 h 8428587"/>
              <a:gd name="connsiteX0" fmla="*/ 1321852 w 6261842"/>
              <a:gd name="connsiteY0" fmla="*/ 7524422 h 8428587"/>
              <a:gd name="connsiteX1" fmla="*/ 0 w 6261842"/>
              <a:gd name="connsiteY1" fmla="*/ 0 h 8428587"/>
              <a:gd name="connsiteX2" fmla="*/ 5562870 w 6261842"/>
              <a:gd name="connsiteY2" fmla="*/ 0 h 8428587"/>
              <a:gd name="connsiteX3" fmla="*/ 6261842 w 6261842"/>
              <a:gd name="connsiteY3" fmla="*/ 7039790 h 8428587"/>
              <a:gd name="connsiteX4" fmla="*/ 5562870 w 6261842"/>
              <a:gd name="connsiteY4" fmla="*/ 8428587 h 8428587"/>
              <a:gd name="connsiteX5" fmla="*/ 0 w 6261842"/>
              <a:gd name="connsiteY5" fmla="*/ 8428587 h 8428587"/>
              <a:gd name="connsiteX6" fmla="*/ 1321852 w 6261842"/>
              <a:gd name="connsiteY6" fmla="*/ 7524422 h 8428587"/>
              <a:gd name="connsiteX0" fmla="*/ 1321852 w 6261842"/>
              <a:gd name="connsiteY0" fmla="*/ 7524422 h 8428587"/>
              <a:gd name="connsiteX1" fmla="*/ 0 w 6261842"/>
              <a:gd name="connsiteY1" fmla="*/ 0 h 8428587"/>
              <a:gd name="connsiteX2" fmla="*/ 5562870 w 6261842"/>
              <a:gd name="connsiteY2" fmla="*/ 0 h 8428587"/>
              <a:gd name="connsiteX3" fmla="*/ 6261842 w 6261842"/>
              <a:gd name="connsiteY3" fmla="*/ 7039790 h 8428587"/>
              <a:gd name="connsiteX4" fmla="*/ 5562870 w 6261842"/>
              <a:gd name="connsiteY4" fmla="*/ 8428587 h 8428587"/>
              <a:gd name="connsiteX5" fmla="*/ 1316736 w 6261842"/>
              <a:gd name="connsiteY5" fmla="*/ 8428587 h 8428587"/>
              <a:gd name="connsiteX6" fmla="*/ 1321852 w 6261842"/>
              <a:gd name="connsiteY6" fmla="*/ 7524422 h 8428587"/>
              <a:gd name="connsiteX0" fmla="*/ 5116 w 4945106"/>
              <a:gd name="connsiteY0" fmla="*/ 7524422 h 8428587"/>
              <a:gd name="connsiteX1" fmla="*/ 4246134 w 4945106"/>
              <a:gd name="connsiteY1" fmla="*/ 0 h 8428587"/>
              <a:gd name="connsiteX2" fmla="*/ 4945106 w 4945106"/>
              <a:gd name="connsiteY2" fmla="*/ 7039790 h 8428587"/>
              <a:gd name="connsiteX3" fmla="*/ 4246134 w 4945106"/>
              <a:gd name="connsiteY3" fmla="*/ 8428587 h 8428587"/>
              <a:gd name="connsiteX4" fmla="*/ 0 w 4945106"/>
              <a:gd name="connsiteY4" fmla="*/ 8428587 h 8428587"/>
              <a:gd name="connsiteX5" fmla="*/ 5116 w 4945106"/>
              <a:gd name="connsiteY5" fmla="*/ 7524422 h 8428587"/>
              <a:gd name="connsiteX0" fmla="*/ 5116 w 4945106"/>
              <a:gd name="connsiteY0" fmla="*/ 484632 h 1388797"/>
              <a:gd name="connsiteX1" fmla="*/ 4945106 w 4945106"/>
              <a:gd name="connsiteY1" fmla="*/ 0 h 1388797"/>
              <a:gd name="connsiteX2" fmla="*/ 4246134 w 4945106"/>
              <a:gd name="connsiteY2" fmla="*/ 1388797 h 1388797"/>
              <a:gd name="connsiteX3" fmla="*/ 0 w 4945106"/>
              <a:gd name="connsiteY3" fmla="*/ 1388797 h 1388797"/>
              <a:gd name="connsiteX4" fmla="*/ 5116 w 4945106"/>
              <a:gd name="connsiteY4" fmla="*/ 484632 h 1388797"/>
              <a:gd name="connsiteX0" fmla="*/ 5116 w 4731627"/>
              <a:gd name="connsiteY0" fmla="*/ 61233 h 965398"/>
              <a:gd name="connsiteX1" fmla="*/ 4731627 w 4731627"/>
              <a:gd name="connsiteY1" fmla="*/ 0 h 965398"/>
              <a:gd name="connsiteX2" fmla="*/ 4246134 w 4731627"/>
              <a:gd name="connsiteY2" fmla="*/ 965398 h 965398"/>
              <a:gd name="connsiteX3" fmla="*/ 0 w 4731627"/>
              <a:gd name="connsiteY3" fmla="*/ 965398 h 965398"/>
              <a:gd name="connsiteX4" fmla="*/ 5116 w 4731627"/>
              <a:gd name="connsiteY4" fmla="*/ 61233 h 965398"/>
              <a:gd name="connsiteX0" fmla="*/ 150993 w 4731627"/>
              <a:gd name="connsiteY0" fmla="*/ 747 h 965398"/>
              <a:gd name="connsiteX1" fmla="*/ 4731627 w 4731627"/>
              <a:gd name="connsiteY1" fmla="*/ 0 h 965398"/>
              <a:gd name="connsiteX2" fmla="*/ 4246134 w 4731627"/>
              <a:gd name="connsiteY2" fmla="*/ 965398 h 965398"/>
              <a:gd name="connsiteX3" fmla="*/ 0 w 4731627"/>
              <a:gd name="connsiteY3" fmla="*/ 965398 h 965398"/>
              <a:gd name="connsiteX4" fmla="*/ 150993 w 4731627"/>
              <a:gd name="connsiteY4" fmla="*/ 747 h 965398"/>
              <a:gd name="connsiteX0" fmla="*/ 217 w 4580851"/>
              <a:gd name="connsiteY0" fmla="*/ 747 h 965398"/>
              <a:gd name="connsiteX1" fmla="*/ 4580851 w 4580851"/>
              <a:gd name="connsiteY1" fmla="*/ 0 h 965398"/>
              <a:gd name="connsiteX2" fmla="*/ 4095358 w 4580851"/>
              <a:gd name="connsiteY2" fmla="*/ 965398 h 965398"/>
              <a:gd name="connsiteX3" fmla="*/ 5775 w 4580851"/>
              <a:gd name="connsiteY3" fmla="*/ 965398 h 965398"/>
              <a:gd name="connsiteX4" fmla="*/ 217 w 4580851"/>
              <a:gd name="connsiteY4" fmla="*/ 747 h 965398"/>
              <a:gd name="connsiteX0" fmla="*/ 217 w 4580851"/>
              <a:gd name="connsiteY0" fmla="*/ 0 h 968209"/>
              <a:gd name="connsiteX1" fmla="*/ 4580851 w 4580851"/>
              <a:gd name="connsiteY1" fmla="*/ 2811 h 968209"/>
              <a:gd name="connsiteX2" fmla="*/ 4095358 w 4580851"/>
              <a:gd name="connsiteY2" fmla="*/ 968209 h 968209"/>
              <a:gd name="connsiteX3" fmla="*/ 5775 w 4580851"/>
              <a:gd name="connsiteY3" fmla="*/ 968209 h 968209"/>
              <a:gd name="connsiteX4" fmla="*/ 217 w 4580851"/>
              <a:gd name="connsiteY4" fmla="*/ 0 h 968209"/>
              <a:gd name="connsiteX0" fmla="*/ 792 w 4575076"/>
              <a:gd name="connsiteY0" fmla="*/ 364 h 965398"/>
              <a:gd name="connsiteX1" fmla="*/ 4575076 w 4575076"/>
              <a:gd name="connsiteY1" fmla="*/ 0 h 965398"/>
              <a:gd name="connsiteX2" fmla="*/ 4089583 w 4575076"/>
              <a:gd name="connsiteY2" fmla="*/ 965398 h 965398"/>
              <a:gd name="connsiteX3" fmla="*/ 0 w 4575076"/>
              <a:gd name="connsiteY3" fmla="*/ 965398 h 965398"/>
              <a:gd name="connsiteX4" fmla="*/ 792 w 4575076"/>
              <a:gd name="connsiteY4" fmla="*/ 364 h 965398"/>
              <a:gd name="connsiteX0" fmla="*/ 317 w 4577776"/>
              <a:gd name="connsiteY0" fmla="*/ 364 h 965398"/>
              <a:gd name="connsiteX1" fmla="*/ 4577776 w 4577776"/>
              <a:gd name="connsiteY1" fmla="*/ 0 h 965398"/>
              <a:gd name="connsiteX2" fmla="*/ 4092283 w 4577776"/>
              <a:gd name="connsiteY2" fmla="*/ 965398 h 965398"/>
              <a:gd name="connsiteX3" fmla="*/ 2700 w 4577776"/>
              <a:gd name="connsiteY3" fmla="*/ 965398 h 965398"/>
              <a:gd name="connsiteX4" fmla="*/ 317 w 4577776"/>
              <a:gd name="connsiteY4" fmla="*/ 364 h 965398"/>
              <a:gd name="connsiteX0" fmla="*/ 792 w 4575076"/>
              <a:gd name="connsiteY0" fmla="*/ 3539 h 965398"/>
              <a:gd name="connsiteX1" fmla="*/ 4575076 w 4575076"/>
              <a:gd name="connsiteY1" fmla="*/ 0 h 965398"/>
              <a:gd name="connsiteX2" fmla="*/ 4089583 w 4575076"/>
              <a:gd name="connsiteY2" fmla="*/ 965398 h 965398"/>
              <a:gd name="connsiteX3" fmla="*/ 0 w 4575076"/>
              <a:gd name="connsiteY3" fmla="*/ 965398 h 965398"/>
              <a:gd name="connsiteX4" fmla="*/ 792 w 4575076"/>
              <a:gd name="connsiteY4" fmla="*/ 3539 h 965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75076" h="965398">
                <a:moveTo>
                  <a:pt x="792" y="3539"/>
                </a:moveTo>
                <a:lnTo>
                  <a:pt x="4575076" y="0"/>
                </a:lnTo>
                <a:lnTo>
                  <a:pt x="4089583" y="965398"/>
                </a:lnTo>
                <a:lnTo>
                  <a:pt x="0" y="965398"/>
                </a:lnTo>
                <a:cubicBezTo>
                  <a:pt x="1705" y="664010"/>
                  <a:pt x="-913" y="304927"/>
                  <a:pt x="792" y="3539"/>
                </a:cubicBezTo>
                <a:close/>
              </a:path>
            </a:pathLst>
          </a:custGeom>
          <a:solidFill>
            <a:srgbClr val="006AB6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D224A6-AE7F-A849-824E-C33BD98256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515" y="-1"/>
            <a:ext cx="10247270" cy="957059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CC25ED-55C9-F641-9E94-4A6F05D899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515" y="1074822"/>
            <a:ext cx="11432964" cy="537621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801CBA-0E7F-FD4F-A11F-D390D6EF29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-10827327" y="6254040"/>
            <a:ext cx="2743200" cy="365125"/>
          </a:xfrm>
        </p:spPr>
        <p:txBody>
          <a:bodyPr/>
          <a:lstStyle/>
          <a:p>
            <a:endParaRPr lang="en-FI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6B1D8EF0-E0AD-4D46-9E41-E2FE2E07A71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26750" y="107806"/>
            <a:ext cx="1054100" cy="741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61379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itle Slide -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0A20B-4D56-874D-9BB8-ED7002AD2F0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2714249"/>
            <a:ext cx="5716479" cy="2171180"/>
          </a:xfrm>
          <a:noFill/>
        </p:spPr>
        <p:txBody>
          <a:bodyPr anchor="t">
            <a:normAutofit/>
          </a:bodyPr>
          <a:lstStyle>
            <a:lvl1pPr algn="l"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6C77283-1A6D-9448-A967-C3A38830DD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8201" y="-19459"/>
            <a:ext cx="5716479" cy="2416514"/>
          </a:xfrm>
          <a:noFill/>
        </p:spPr>
        <p:txBody>
          <a:bodyPr anchor="b"/>
          <a:lstStyle>
            <a:lvl1pPr marL="0" indent="0" algn="l">
              <a:buNone/>
              <a:defRPr sz="2800" spc="1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FI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0AEE47C-9D58-E842-8356-34FB389C8E73}"/>
              </a:ext>
            </a:extLst>
          </p:cNvPr>
          <p:cNvCxnSpPr>
            <a:cxnSpLocks/>
          </p:cNvCxnSpPr>
          <p:nvPr userDrawn="1"/>
        </p:nvCxnSpPr>
        <p:spPr>
          <a:xfrm>
            <a:off x="838202" y="2571727"/>
            <a:ext cx="6096000" cy="0"/>
          </a:xfrm>
          <a:prstGeom prst="line">
            <a:avLst/>
          </a:prstGeom>
          <a:ln w="57150">
            <a:solidFill>
              <a:srgbClr val="E2698B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B307982-FAD6-074D-B946-CD43C9E96A62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838201" y="4885433"/>
            <a:ext cx="2851482" cy="1019041"/>
          </a:xfrm>
          <a:noFill/>
          <a:ln>
            <a:noFill/>
          </a:ln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31" name="Picture 30" descr="Icon&#10;&#10;Description automatically generated">
            <a:extLst>
              <a:ext uri="{FF2B5EF4-FFF2-40B4-BE49-F238E27FC236}">
                <a16:creationId xmlns:a16="http://schemas.microsoft.com/office/drawing/2014/main" id="{DA2AB965-9966-844E-8874-03F7596806F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30644" y="107806"/>
            <a:ext cx="1054100" cy="741443"/>
          </a:xfrm>
          <a:prstGeom prst="rect">
            <a:avLst/>
          </a:prstGeom>
        </p:spPr>
      </p:pic>
      <p:sp>
        <p:nvSpPr>
          <p:cNvPr id="15" name="Picture Placeholder 15">
            <a:extLst>
              <a:ext uri="{FF2B5EF4-FFF2-40B4-BE49-F238E27FC236}">
                <a16:creationId xmlns:a16="http://schemas.microsoft.com/office/drawing/2014/main" id="{0B00A32D-AF62-0A42-AF80-6ECAE76FBA4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792803" y="793"/>
            <a:ext cx="3776400" cy="2497764"/>
          </a:xfrm>
          <a:custGeom>
            <a:avLst/>
            <a:gdLst>
              <a:gd name="connsiteX0" fmla="*/ 0 w 3776400"/>
              <a:gd name="connsiteY0" fmla="*/ 1627200 h 3254400"/>
              <a:gd name="connsiteX1" fmla="*/ 813600 w 3776400"/>
              <a:gd name="connsiteY1" fmla="*/ 1 h 3254400"/>
              <a:gd name="connsiteX2" fmla="*/ 2962800 w 3776400"/>
              <a:gd name="connsiteY2" fmla="*/ 1 h 3254400"/>
              <a:gd name="connsiteX3" fmla="*/ 3776400 w 3776400"/>
              <a:gd name="connsiteY3" fmla="*/ 1627200 h 3254400"/>
              <a:gd name="connsiteX4" fmla="*/ 2962800 w 3776400"/>
              <a:gd name="connsiteY4" fmla="*/ 3254399 h 3254400"/>
              <a:gd name="connsiteX5" fmla="*/ 813600 w 3776400"/>
              <a:gd name="connsiteY5" fmla="*/ 3254399 h 3254400"/>
              <a:gd name="connsiteX6" fmla="*/ 0 w 3776400"/>
              <a:gd name="connsiteY6" fmla="*/ 1627200 h 3254400"/>
              <a:gd name="connsiteX0" fmla="*/ 0 w 3776400"/>
              <a:gd name="connsiteY0" fmla="*/ 1627199 h 3254398"/>
              <a:gd name="connsiteX1" fmla="*/ 433673 w 3776400"/>
              <a:gd name="connsiteY1" fmla="*/ 759853 h 3254398"/>
              <a:gd name="connsiteX2" fmla="*/ 2962800 w 3776400"/>
              <a:gd name="connsiteY2" fmla="*/ 0 h 3254398"/>
              <a:gd name="connsiteX3" fmla="*/ 3776400 w 3776400"/>
              <a:gd name="connsiteY3" fmla="*/ 1627199 h 3254398"/>
              <a:gd name="connsiteX4" fmla="*/ 2962800 w 3776400"/>
              <a:gd name="connsiteY4" fmla="*/ 3254398 h 3254398"/>
              <a:gd name="connsiteX5" fmla="*/ 813600 w 3776400"/>
              <a:gd name="connsiteY5" fmla="*/ 3254398 h 3254398"/>
              <a:gd name="connsiteX6" fmla="*/ 0 w 3776400"/>
              <a:gd name="connsiteY6" fmla="*/ 1627199 h 3254398"/>
              <a:gd name="connsiteX0" fmla="*/ 0 w 3776400"/>
              <a:gd name="connsiteY0" fmla="*/ 870565 h 2497764"/>
              <a:gd name="connsiteX1" fmla="*/ 433673 w 3776400"/>
              <a:gd name="connsiteY1" fmla="*/ 3219 h 2497764"/>
              <a:gd name="connsiteX2" fmla="*/ 3342727 w 3776400"/>
              <a:gd name="connsiteY2" fmla="*/ 0 h 2497764"/>
              <a:gd name="connsiteX3" fmla="*/ 3776400 w 3776400"/>
              <a:gd name="connsiteY3" fmla="*/ 870565 h 2497764"/>
              <a:gd name="connsiteX4" fmla="*/ 2962800 w 3776400"/>
              <a:gd name="connsiteY4" fmla="*/ 2497764 h 2497764"/>
              <a:gd name="connsiteX5" fmla="*/ 813600 w 3776400"/>
              <a:gd name="connsiteY5" fmla="*/ 2497764 h 2497764"/>
              <a:gd name="connsiteX6" fmla="*/ 0 w 3776400"/>
              <a:gd name="connsiteY6" fmla="*/ 870565 h 2497764"/>
              <a:gd name="connsiteX0" fmla="*/ 0 w 3776400"/>
              <a:gd name="connsiteY0" fmla="*/ 899543 h 2526742"/>
              <a:gd name="connsiteX1" fmla="*/ 449771 w 3776400"/>
              <a:gd name="connsiteY1" fmla="*/ 0 h 2526742"/>
              <a:gd name="connsiteX2" fmla="*/ 3342727 w 3776400"/>
              <a:gd name="connsiteY2" fmla="*/ 28978 h 2526742"/>
              <a:gd name="connsiteX3" fmla="*/ 3776400 w 3776400"/>
              <a:gd name="connsiteY3" fmla="*/ 899543 h 2526742"/>
              <a:gd name="connsiteX4" fmla="*/ 2962800 w 3776400"/>
              <a:gd name="connsiteY4" fmla="*/ 2526742 h 2526742"/>
              <a:gd name="connsiteX5" fmla="*/ 813600 w 3776400"/>
              <a:gd name="connsiteY5" fmla="*/ 2526742 h 2526742"/>
              <a:gd name="connsiteX6" fmla="*/ 0 w 3776400"/>
              <a:gd name="connsiteY6" fmla="*/ 899543 h 2526742"/>
              <a:gd name="connsiteX0" fmla="*/ 0 w 3776400"/>
              <a:gd name="connsiteY0" fmla="*/ 870565 h 2497764"/>
              <a:gd name="connsiteX1" fmla="*/ 433673 w 3776400"/>
              <a:gd name="connsiteY1" fmla="*/ 0 h 2497764"/>
              <a:gd name="connsiteX2" fmla="*/ 3342727 w 3776400"/>
              <a:gd name="connsiteY2" fmla="*/ 0 h 2497764"/>
              <a:gd name="connsiteX3" fmla="*/ 3776400 w 3776400"/>
              <a:gd name="connsiteY3" fmla="*/ 870565 h 2497764"/>
              <a:gd name="connsiteX4" fmla="*/ 2962800 w 3776400"/>
              <a:gd name="connsiteY4" fmla="*/ 2497764 h 2497764"/>
              <a:gd name="connsiteX5" fmla="*/ 813600 w 3776400"/>
              <a:gd name="connsiteY5" fmla="*/ 2497764 h 2497764"/>
              <a:gd name="connsiteX6" fmla="*/ 0 w 3776400"/>
              <a:gd name="connsiteY6" fmla="*/ 870565 h 2497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76400" h="2497764">
                <a:moveTo>
                  <a:pt x="0" y="870565"/>
                </a:moveTo>
                <a:lnTo>
                  <a:pt x="433673" y="0"/>
                </a:lnTo>
                <a:lnTo>
                  <a:pt x="3342727" y="0"/>
                </a:lnTo>
                <a:lnTo>
                  <a:pt x="3776400" y="870565"/>
                </a:lnTo>
                <a:lnTo>
                  <a:pt x="2962800" y="2497764"/>
                </a:lnTo>
                <a:lnTo>
                  <a:pt x="813600" y="2497764"/>
                </a:lnTo>
                <a:lnTo>
                  <a:pt x="0" y="870565"/>
                </a:lnTo>
                <a:close/>
              </a:path>
            </a:pathLst>
          </a:custGeom>
          <a:solidFill>
            <a:srgbClr val="006AB6">
              <a:alpha val="50000"/>
            </a:srgbClr>
          </a:solidFill>
        </p:spPr>
        <p:txBody>
          <a:bodyPr wrap="square">
            <a:noAutofit/>
          </a:bodyPr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D309A2C0-E6E8-3243-A3DE-D30C85C0BB3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792803" y="2650075"/>
            <a:ext cx="3776400" cy="3254400"/>
          </a:xfrm>
          <a:prstGeom prst="hexagon">
            <a:avLst/>
          </a:prstGeom>
          <a:solidFill>
            <a:srgbClr val="006AB6">
              <a:alpha val="50000"/>
            </a:srgbClr>
          </a:solidFill>
        </p:spPr>
        <p:txBody>
          <a:bodyPr wrap="square">
            <a:noAutofit/>
          </a:bodyPr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18">
            <a:extLst>
              <a:ext uri="{FF2B5EF4-FFF2-40B4-BE49-F238E27FC236}">
                <a16:creationId xmlns:a16="http://schemas.microsoft.com/office/drawing/2014/main" id="{21514893-1F3E-E34B-BC40-6E144E5F1BD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895924" y="942666"/>
            <a:ext cx="2295491" cy="3254398"/>
          </a:xfrm>
          <a:custGeom>
            <a:avLst/>
            <a:gdLst>
              <a:gd name="connsiteX0" fmla="*/ 0 w 3776400"/>
              <a:gd name="connsiteY0" fmla="*/ 1627200 h 3254400"/>
              <a:gd name="connsiteX1" fmla="*/ 813600 w 3776400"/>
              <a:gd name="connsiteY1" fmla="*/ 1 h 3254400"/>
              <a:gd name="connsiteX2" fmla="*/ 2962800 w 3776400"/>
              <a:gd name="connsiteY2" fmla="*/ 1 h 3254400"/>
              <a:gd name="connsiteX3" fmla="*/ 3776400 w 3776400"/>
              <a:gd name="connsiteY3" fmla="*/ 1627200 h 3254400"/>
              <a:gd name="connsiteX4" fmla="*/ 2962800 w 3776400"/>
              <a:gd name="connsiteY4" fmla="*/ 3254399 h 3254400"/>
              <a:gd name="connsiteX5" fmla="*/ 813600 w 3776400"/>
              <a:gd name="connsiteY5" fmla="*/ 3254399 h 3254400"/>
              <a:gd name="connsiteX6" fmla="*/ 0 w 3776400"/>
              <a:gd name="connsiteY6" fmla="*/ 1627200 h 3254400"/>
              <a:gd name="connsiteX0" fmla="*/ 0 w 3776400"/>
              <a:gd name="connsiteY0" fmla="*/ 1627199 h 3254398"/>
              <a:gd name="connsiteX1" fmla="*/ 813600 w 3776400"/>
              <a:gd name="connsiteY1" fmla="*/ 0 h 3254398"/>
              <a:gd name="connsiteX2" fmla="*/ 2291514 w 3776400"/>
              <a:gd name="connsiteY2" fmla="*/ 0 h 3254398"/>
              <a:gd name="connsiteX3" fmla="*/ 3776400 w 3776400"/>
              <a:gd name="connsiteY3" fmla="*/ 1627199 h 3254398"/>
              <a:gd name="connsiteX4" fmla="*/ 2962800 w 3776400"/>
              <a:gd name="connsiteY4" fmla="*/ 3254398 h 3254398"/>
              <a:gd name="connsiteX5" fmla="*/ 813600 w 3776400"/>
              <a:gd name="connsiteY5" fmla="*/ 3254398 h 3254398"/>
              <a:gd name="connsiteX6" fmla="*/ 0 w 3776400"/>
              <a:gd name="connsiteY6" fmla="*/ 1627199 h 3254398"/>
              <a:gd name="connsiteX0" fmla="*/ 0 w 3776400"/>
              <a:gd name="connsiteY0" fmla="*/ 1627199 h 3254398"/>
              <a:gd name="connsiteX1" fmla="*/ 813600 w 3776400"/>
              <a:gd name="connsiteY1" fmla="*/ 0 h 3254398"/>
              <a:gd name="connsiteX2" fmla="*/ 2291514 w 3776400"/>
              <a:gd name="connsiteY2" fmla="*/ 0 h 3254398"/>
              <a:gd name="connsiteX3" fmla="*/ 3776400 w 3776400"/>
              <a:gd name="connsiteY3" fmla="*/ 1627199 h 3254398"/>
              <a:gd name="connsiteX4" fmla="*/ 2295142 w 3776400"/>
              <a:gd name="connsiteY4" fmla="*/ 3254398 h 3254398"/>
              <a:gd name="connsiteX5" fmla="*/ 813600 w 3776400"/>
              <a:gd name="connsiteY5" fmla="*/ 3254398 h 3254398"/>
              <a:gd name="connsiteX6" fmla="*/ 0 w 3776400"/>
              <a:gd name="connsiteY6" fmla="*/ 1627199 h 3254398"/>
              <a:gd name="connsiteX0" fmla="*/ 0 w 2295142"/>
              <a:gd name="connsiteY0" fmla="*/ 1627199 h 3254398"/>
              <a:gd name="connsiteX1" fmla="*/ 813600 w 2295142"/>
              <a:gd name="connsiteY1" fmla="*/ 0 h 3254398"/>
              <a:gd name="connsiteX2" fmla="*/ 2291514 w 2295142"/>
              <a:gd name="connsiteY2" fmla="*/ 0 h 3254398"/>
              <a:gd name="connsiteX3" fmla="*/ 2295142 w 2295142"/>
              <a:gd name="connsiteY3" fmla="*/ 3254398 h 3254398"/>
              <a:gd name="connsiteX4" fmla="*/ 813600 w 2295142"/>
              <a:gd name="connsiteY4" fmla="*/ 3254398 h 3254398"/>
              <a:gd name="connsiteX5" fmla="*/ 0 w 2295142"/>
              <a:gd name="connsiteY5" fmla="*/ 1627199 h 3254398"/>
              <a:gd name="connsiteX0" fmla="*/ 0 w 2465691"/>
              <a:gd name="connsiteY0" fmla="*/ 1627199 h 3254398"/>
              <a:gd name="connsiteX1" fmla="*/ 813600 w 2465691"/>
              <a:gd name="connsiteY1" fmla="*/ 0 h 3254398"/>
              <a:gd name="connsiteX2" fmla="*/ 2465685 w 2465691"/>
              <a:gd name="connsiteY2" fmla="*/ 0 h 3254398"/>
              <a:gd name="connsiteX3" fmla="*/ 2295142 w 2465691"/>
              <a:gd name="connsiteY3" fmla="*/ 3254398 h 3254398"/>
              <a:gd name="connsiteX4" fmla="*/ 813600 w 2465691"/>
              <a:gd name="connsiteY4" fmla="*/ 3254398 h 3254398"/>
              <a:gd name="connsiteX5" fmla="*/ 0 w 2465691"/>
              <a:gd name="connsiteY5" fmla="*/ 1627199 h 3254398"/>
              <a:gd name="connsiteX0" fmla="*/ 0 w 2295491"/>
              <a:gd name="connsiteY0" fmla="*/ 1627199 h 3254398"/>
              <a:gd name="connsiteX1" fmla="*/ 813600 w 2295491"/>
              <a:gd name="connsiteY1" fmla="*/ 0 h 3254398"/>
              <a:gd name="connsiteX2" fmla="*/ 2295142 w 2295491"/>
              <a:gd name="connsiteY2" fmla="*/ 0 h 3254398"/>
              <a:gd name="connsiteX3" fmla="*/ 2295142 w 2295491"/>
              <a:gd name="connsiteY3" fmla="*/ 3254398 h 3254398"/>
              <a:gd name="connsiteX4" fmla="*/ 813600 w 2295491"/>
              <a:gd name="connsiteY4" fmla="*/ 3254398 h 3254398"/>
              <a:gd name="connsiteX5" fmla="*/ 0 w 2295491"/>
              <a:gd name="connsiteY5" fmla="*/ 1627199 h 3254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95491" h="3254398">
                <a:moveTo>
                  <a:pt x="0" y="1627199"/>
                </a:moveTo>
                <a:lnTo>
                  <a:pt x="813600" y="0"/>
                </a:lnTo>
                <a:lnTo>
                  <a:pt x="2295142" y="0"/>
                </a:lnTo>
                <a:cubicBezTo>
                  <a:pt x="2296351" y="1084799"/>
                  <a:pt x="2293933" y="2169599"/>
                  <a:pt x="2295142" y="3254398"/>
                </a:cubicBezTo>
                <a:lnTo>
                  <a:pt x="813600" y="3254398"/>
                </a:lnTo>
                <a:lnTo>
                  <a:pt x="0" y="1627199"/>
                </a:lnTo>
                <a:close/>
              </a:path>
            </a:pathLst>
          </a:custGeom>
          <a:solidFill>
            <a:srgbClr val="006AB6">
              <a:alpha val="50000"/>
            </a:srgbClr>
          </a:solidFill>
        </p:spPr>
        <p:txBody>
          <a:bodyPr wrap="square">
            <a:noAutofit/>
          </a:bodyPr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BC2989CE-8810-5544-95CD-F751B567FE1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689682" y="4348583"/>
            <a:ext cx="3776400" cy="2511448"/>
          </a:xfrm>
          <a:custGeom>
            <a:avLst/>
            <a:gdLst>
              <a:gd name="connsiteX0" fmla="*/ 0 w 3776400"/>
              <a:gd name="connsiteY0" fmla="*/ 1627200 h 3254400"/>
              <a:gd name="connsiteX1" fmla="*/ 813600 w 3776400"/>
              <a:gd name="connsiteY1" fmla="*/ 1 h 3254400"/>
              <a:gd name="connsiteX2" fmla="*/ 2962800 w 3776400"/>
              <a:gd name="connsiteY2" fmla="*/ 1 h 3254400"/>
              <a:gd name="connsiteX3" fmla="*/ 3776400 w 3776400"/>
              <a:gd name="connsiteY3" fmla="*/ 1627200 h 3254400"/>
              <a:gd name="connsiteX4" fmla="*/ 2962800 w 3776400"/>
              <a:gd name="connsiteY4" fmla="*/ 3254399 h 3254400"/>
              <a:gd name="connsiteX5" fmla="*/ 813600 w 3776400"/>
              <a:gd name="connsiteY5" fmla="*/ 3254399 h 3254400"/>
              <a:gd name="connsiteX6" fmla="*/ 0 w 3776400"/>
              <a:gd name="connsiteY6" fmla="*/ 1627200 h 3254400"/>
              <a:gd name="connsiteX0" fmla="*/ 0 w 3776400"/>
              <a:gd name="connsiteY0" fmla="*/ 1627199 h 3254398"/>
              <a:gd name="connsiteX1" fmla="*/ 813600 w 3776400"/>
              <a:gd name="connsiteY1" fmla="*/ 0 h 3254398"/>
              <a:gd name="connsiteX2" fmla="*/ 2962800 w 3776400"/>
              <a:gd name="connsiteY2" fmla="*/ 0 h 3254398"/>
              <a:gd name="connsiteX3" fmla="*/ 3776400 w 3776400"/>
              <a:gd name="connsiteY3" fmla="*/ 1627199 h 3254398"/>
              <a:gd name="connsiteX4" fmla="*/ 2962800 w 3776400"/>
              <a:gd name="connsiteY4" fmla="*/ 3254398 h 3254398"/>
              <a:gd name="connsiteX5" fmla="*/ 442125 w 3776400"/>
              <a:gd name="connsiteY5" fmla="*/ 2511448 h 3254398"/>
              <a:gd name="connsiteX6" fmla="*/ 0 w 3776400"/>
              <a:gd name="connsiteY6" fmla="*/ 1627199 h 3254398"/>
              <a:gd name="connsiteX0" fmla="*/ 0 w 3776400"/>
              <a:gd name="connsiteY0" fmla="*/ 1627199 h 2511448"/>
              <a:gd name="connsiteX1" fmla="*/ 813600 w 3776400"/>
              <a:gd name="connsiteY1" fmla="*/ 0 h 2511448"/>
              <a:gd name="connsiteX2" fmla="*/ 2962800 w 3776400"/>
              <a:gd name="connsiteY2" fmla="*/ 0 h 2511448"/>
              <a:gd name="connsiteX3" fmla="*/ 3776400 w 3776400"/>
              <a:gd name="connsiteY3" fmla="*/ 1627199 h 2511448"/>
              <a:gd name="connsiteX4" fmla="*/ 3331100 w 3776400"/>
              <a:gd name="connsiteY4" fmla="*/ 2511448 h 2511448"/>
              <a:gd name="connsiteX5" fmla="*/ 442125 w 3776400"/>
              <a:gd name="connsiteY5" fmla="*/ 2511448 h 2511448"/>
              <a:gd name="connsiteX6" fmla="*/ 0 w 3776400"/>
              <a:gd name="connsiteY6" fmla="*/ 1627199 h 2511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76400" h="2511448">
                <a:moveTo>
                  <a:pt x="0" y="1627199"/>
                </a:moveTo>
                <a:lnTo>
                  <a:pt x="813600" y="0"/>
                </a:lnTo>
                <a:lnTo>
                  <a:pt x="2962800" y="0"/>
                </a:lnTo>
                <a:lnTo>
                  <a:pt x="3776400" y="1627199"/>
                </a:lnTo>
                <a:lnTo>
                  <a:pt x="3331100" y="2511448"/>
                </a:lnTo>
                <a:lnTo>
                  <a:pt x="442125" y="2511448"/>
                </a:lnTo>
                <a:lnTo>
                  <a:pt x="0" y="1627199"/>
                </a:lnTo>
                <a:close/>
              </a:path>
            </a:pathLst>
          </a:custGeom>
          <a:solidFill>
            <a:srgbClr val="006AB6">
              <a:alpha val="50000"/>
            </a:srgbClr>
          </a:solidFill>
        </p:spPr>
        <p:txBody>
          <a:bodyPr wrap="square">
            <a:noAutofit/>
          </a:bodyPr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Picture Placeholder 18">
            <a:extLst>
              <a:ext uri="{FF2B5EF4-FFF2-40B4-BE49-F238E27FC236}">
                <a16:creationId xmlns:a16="http://schemas.microsoft.com/office/drawing/2014/main" id="{B1EE89B3-ECF8-0644-8546-6B074281378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895923" y="4348582"/>
            <a:ext cx="2295491" cy="2511397"/>
          </a:xfrm>
          <a:custGeom>
            <a:avLst/>
            <a:gdLst>
              <a:gd name="connsiteX0" fmla="*/ 0 w 3776400"/>
              <a:gd name="connsiteY0" fmla="*/ 1627200 h 3254400"/>
              <a:gd name="connsiteX1" fmla="*/ 813600 w 3776400"/>
              <a:gd name="connsiteY1" fmla="*/ 1 h 3254400"/>
              <a:gd name="connsiteX2" fmla="*/ 2962800 w 3776400"/>
              <a:gd name="connsiteY2" fmla="*/ 1 h 3254400"/>
              <a:gd name="connsiteX3" fmla="*/ 3776400 w 3776400"/>
              <a:gd name="connsiteY3" fmla="*/ 1627200 h 3254400"/>
              <a:gd name="connsiteX4" fmla="*/ 2962800 w 3776400"/>
              <a:gd name="connsiteY4" fmla="*/ 3254399 h 3254400"/>
              <a:gd name="connsiteX5" fmla="*/ 813600 w 3776400"/>
              <a:gd name="connsiteY5" fmla="*/ 3254399 h 3254400"/>
              <a:gd name="connsiteX6" fmla="*/ 0 w 3776400"/>
              <a:gd name="connsiteY6" fmla="*/ 1627200 h 3254400"/>
              <a:gd name="connsiteX0" fmla="*/ 0 w 3776400"/>
              <a:gd name="connsiteY0" fmla="*/ 1627199 h 3254398"/>
              <a:gd name="connsiteX1" fmla="*/ 813600 w 3776400"/>
              <a:gd name="connsiteY1" fmla="*/ 0 h 3254398"/>
              <a:gd name="connsiteX2" fmla="*/ 2291514 w 3776400"/>
              <a:gd name="connsiteY2" fmla="*/ 0 h 3254398"/>
              <a:gd name="connsiteX3" fmla="*/ 3776400 w 3776400"/>
              <a:gd name="connsiteY3" fmla="*/ 1627199 h 3254398"/>
              <a:gd name="connsiteX4" fmla="*/ 2962800 w 3776400"/>
              <a:gd name="connsiteY4" fmla="*/ 3254398 h 3254398"/>
              <a:gd name="connsiteX5" fmla="*/ 813600 w 3776400"/>
              <a:gd name="connsiteY5" fmla="*/ 3254398 h 3254398"/>
              <a:gd name="connsiteX6" fmla="*/ 0 w 3776400"/>
              <a:gd name="connsiteY6" fmla="*/ 1627199 h 3254398"/>
              <a:gd name="connsiteX0" fmla="*/ 0 w 3776400"/>
              <a:gd name="connsiteY0" fmla="*/ 1627199 h 3254398"/>
              <a:gd name="connsiteX1" fmla="*/ 813600 w 3776400"/>
              <a:gd name="connsiteY1" fmla="*/ 0 h 3254398"/>
              <a:gd name="connsiteX2" fmla="*/ 2291514 w 3776400"/>
              <a:gd name="connsiteY2" fmla="*/ 0 h 3254398"/>
              <a:gd name="connsiteX3" fmla="*/ 3776400 w 3776400"/>
              <a:gd name="connsiteY3" fmla="*/ 1627199 h 3254398"/>
              <a:gd name="connsiteX4" fmla="*/ 2295142 w 3776400"/>
              <a:gd name="connsiteY4" fmla="*/ 3254398 h 3254398"/>
              <a:gd name="connsiteX5" fmla="*/ 813600 w 3776400"/>
              <a:gd name="connsiteY5" fmla="*/ 3254398 h 3254398"/>
              <a:gd name="connsiteX6" fmla="*/ 0 w 3776400"/>
              <a:gd name="connsiteY6" fmla="*/ 1627199 h 3254398"/>
              <a:gd name="connsiteX0" fmla="*/ 0 w 2295142"/>
              <a:gd name="connsiteY0" fmla="*/ 1627199 h 3254398"/>
              <a:gd name="connsiteX1" fmla="*/ 813600 w 2295142"/>
              <a:gd name="connsiteY1" fmla="*/ 0 h 3254398"/>
              <a:gd name="connsiteX2" fmla="*/ 2291514 w 2295142"/>
              <a:gd name="connsiteY2" fmla="*/ 0 h 3254398"/>
              <a:gd name="connsiteX3" fmla="*/ 2295142 w 2295142"/>
              <a:gd name="connsiteY3" fmla="*/ 3254398 h 3254398"/>
              <a:gd name="connsiteX4" fmla="*/ 813600 w 2295142"/>
              <a:gd name="connsiteY4" fmla="*/ 3254398 h 3254398"/>
              <a:gd name="connsiteX5" fmla="*/ 0 w 2295142"/>
              <a:gd name="connsiteY5" fmla="*/ 1627199 h 3254398"/>
              <a:gd name="connsiteX0" fmla="*/ 0 w 2465691"/>
              <a:gd name="connsiteY0" fmla="*/ 1627199 h 3254398"/>
              <a:gd name="connsiteX1" fmla="*/ 813600 w 2465691"/>
              <a:gd name="connsiteY1" fmla="*/ 0 h 3254398"/>
              <a:gd name="connsiteX2" fmla="*/ 2465685 w 2465691"/>
              <a:gd name="connsiteY2" fmla="*/ 0 h 3254398"/>
              <a:gd name="connsiteX3" fmla="*/ 2295142 w 2465691"/>
              <a:gd name="connsiteY3" fmla="*/ 3254398 h 3254398"/>
              <a:gd name="connsiteX4" fmla="*/ 813600 w 2465691"/>
              <a:gd name="connsiteY4" fmla="*/ 3254398 h 3254398"/>
              <a:gd name="connsiteX5" fmla="*/ 0 w 2465691"/>
              <a:gd name="connsiteY5" fmla="*/ 1627199 h 3254398"/>
              <a:gd name="connsiteX0" fmla="*/ 0 w 2295491"/>
              <a:gd name="connsiteY0" fmla="*/ 1627199 h 3254398"/>
              <a:gd name="connsiteX1" fmla="*/ 813600 w 2295491"/>
              <a:gd name="connsiteY1" fmla="*/ 0 h 3254398"/>
              <a:gd name="connsiteX2" fmla="*/ 2295142 w 2295491"/>
              <a:gd name="connsiteY2" fmla="*/ 0 h 3254398"/>
              <a:gd name="connsiteX3" fmla="*/ 2295142 w 2295491"/>
              <a:gd name="connsiteY3" fmla="*/ 3254398 h 3254398"/>
              <a:gd name="connsiteX4" fmla="*/ 813600 w 2295491"/>
              <a:gd name="connsiteY4" fmla="*/ 3254398 h 3254398"/>
              <a:gd name="connsiteX5" fmla="*/ 0 w 2295491"/>
              <a:gd name="connsiteY5" fmla="*/ 1627199 h 3254398"/>
              <a:gd name="connsiteX0" fmla="*/ 0 w 2295491"/>
              <a:gd name="connsiteY0" fmla="*/ 1627199 h 3254398"/>
              <a:gd name="connsiteX1" fmla="*/ 813600 w 2295491"/>
              <a:gd name="connsiteY1" fmla="*/ 0 h 3254398"/>
              <a:gd name="connsiteX2" fmla="*/ 2295142 w 2295491"/>
              <a:gd name="connsiteY2" fmla="*/ 0 h 3254398"/>
              <a:gd name="connsiteX3" fmla="*/ 2295142 w 2295491"/>
              <a:gd name="connsiteY3" fmla="*/ 3254398 h 3254398"/>
              <a:gd name="connsiteX4" fmla="*/ 446862 w 2295491"/>
              <a:gd name="connsiteY4" fmla="*/ 2520922 h 3254398"/>
              <a:gd name="connsiteX5" fmla="*/ 0 w 2295491"/>
              <a:gd name="connsiteY5" fmla="*/ 1627199 h 3254398"/>
              <a:gd name="connsiteX0" fmla="*/ 0 w 2295491"/>
              <a:gd name="connsiteY0" fmla="*/ 1627199 h 2520922"/>
              <a:gd name="connsiteX1" fmla="*/ 813600 w 2295491"/>
              <a:gd name="connsiteY1" fmla="*/ 0 h 2520922"/>
              <a:gd name="connsiteX2" fmla="*/ 2295142 w 2295491"/>
              <a:gd name="connsiteY2" fmla="*/ 0 h 2520922"/>
              <a:gd name="connsiteX3" fmla="*/ 2295142 w 2295491"/>
              <a:gd name="connsiteY3" fmla="*/ 2511142 h 2520922"/>
              <a:gd name="connsiteX4" fmla="*/ 446862 w 2295491"/>
              <a:gd name="connsiteY4" fmla="*/ 2520922 h 2520922"/>
              <a:gd name="connsiteX5" fmla="*/ 0 w 2295491"/>
              <a:gd name="connsiteY5" fmla="*/ 1627199 h 2520922"/>
              <a:gd name="connsiteX0" fmla="*/ 0 w 2295491"/>
              <a:gd name="connsiteY0" fmla="*/ 1627199 h 2590772"/>
              <a:gd name="connsiteX1" fmla="*/ 813600 w 2295491"/>
              <a:gd name="connsiteY1" fmla="*/ 0 h 2590772"/>
              <a:gd name="connsiteX2" fmla="*/ 2295142 w 2295491"/>
              <a:gd name="connsiteY2" fmla="*/ 0 h 2590772"/>
              <a:gd name="connsiteX3" fmla="*/ 2295142 w 2295491"/>
              <a:gd name="connsiteY3" fmla="*/ 2511142 h 2590772"/>
              <a:gd name="connsiteX4" fmla="*/ 481787 w 2295491"/>
              <a:gd name="connsiteY4" fmla="*/ 2590772 h 2590772"/>
              <a:gd name="connsiteX5" fmla="*/ 0 w 2295491"/>
              <a:gd name="connsiteY5" fmla="*/ 1627199 h 2590772"/>
              <a:gd name="connsiteX0" fmla="*/ 0 w 2295491"/>
              <a:gd name="connsiteY0" fmla="*/ 1627199 h 2511142"/>
              <a:gd name="connsiteX1" fmla="*/ 813600 w 2295491"/>
              <a:gd name="connsiteY1" fmla="*/ 0 h 2511142"/>
              <a:gd name="connsiteX2" fmla="*/ 2295142 w 2295491"/>
              <a:gd name="connsiteY2" fmla="*/ 0 h 2511142"/>
              <a:gd name="connsiteX3" fmla="*/ 2295142 w 2295491"/>
              <a:gd name="connsiteY3" fmla="*/ 2511142 h 2511142"/>
              <a:gd name="connsiteX4" fmla="*/ 440512 w 2295491"/>
              <a:gd name="connsiteY4" fmla="*/ 2508222 h 2511142"/>
              <a:gd name="connsiteX5" fmla="*/ 0 w 2295491"/>
              <a:gd name="connsiteY5" fmla="*/ 1627199 h 2511142"/>
              <a:gd name="connsiteX0" fmla="*/ 0 w 2295491"/>
              <a:gd name="connsiteY0" fmla="*/ 1627199 h 2511142"/>
              <a:gd name="connsiteX1" fmla="*/ 813600 w 2295491"/>
              <a:gd name="connsiteY1" fmla="*/ 0 h 2511142"/>
              <a:gd name="connsiteX2" fmla="*/ 2295142 w 2295491"/>
              <a:gd name="connsiteY2" fmla="*/ 0 h 2511142"/>
              <a:gd name="connsiteX3" fmla="*/ 2295142 w 2295491"/>
              <a:gd name="connsiteY3" fmla="*/ 2511142 h 2511142"/>
              <a:gd name="connsiteX4" fmla="*/ 440512 w 2295491"/>
              <a:gd name="connsiteY4" fmla="*/ 2508222 h 2511142"/>
              <a:gd name="connsiteX5" fmla="*/ 0 w 2295491"/>
              <a:gd name="connsiteY5" fmla="*/ 1627199 h 2511142"/>
              <a:gd name="connsiteX0" fmla="*/ 0 w 2295491"/>
              <a:gd name="connsiteY0" fmla="*/ 1627199 h 2520922"/>
              <a:gd name="connsiteX1" fmla="*/ 813600 w 2295491"/>
              <a:gd name="connsiteY1" fmla="*/ 0 h 2520922"/>
              <a:gd name="connsiteX2" fmla="*/ 2295142 w 2295491"/>
              <a:gd name="connsiteY2" fmla="*/ 0 h 2520922"/>
              <a:gd name="connsiteX3" fmla="*/ 2295142 w 2295491"/>
              <a:gd name="connsiteY3" fmla="*/ 2511142 h 2520922"/>
              <a:gd name="connsiteX4" fmla="*/ 443687 w 2295491"/>
              <a:gd name="connsiteY4" fmla="*/ 2520922 h 2520922"/>
              <a:gd name="connsiteX5" fmla="*/ 0 w 2295491"/>
              <a:gd name="connsiteY5" fmla="*/ 1627199 h 2520922"/>
              <a:gd name="connsiteX0" fmla="*/ 0 w 2295491"/>
              <a:gd name="connsiteY0" fmla="*/ 1627199 h 2511397"/>
              <a:gd name="connsiteX1" fmla="*/ 813600 w 2295491"/>
              <a:gd name="connsiteY1" fmla="*/ 0 h 2511397"/>
              <a:gd name="connsiteX2" fmla="*/ 2295142 w 2295491"/>
              <a:gd name="connsiteY2" fmla="*/ 0 h 2511397"/>
              <a:gd name="connsiteX3" fmla="*/ 2295142 w 2295491"/>
              <a:gd name="connsiteY3" fmla="*/ 2511142 h 2511397"/>
              <a:gd name="connsiteX4" fmla="*/ 437337 w 2295491"/>
              <a:gd name="connsiteY4" fmla="*/ 2511397 h 2511397"/>
              <a:gd name="connsiteX5" fmla="*/ 0 w 2295491"/>
              <a:gd name="connsiteY5" fmla="*/ 1627199 h 2511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95491" h="2511397">
                <a:moveTo>
                  <a:pt x="0" y="1627199"/>
                </a:moveTo>
                <a:lnTo>
                  <a:pt x="813600" y="0"/>
                </a:lnTo>
                <a:lnTo>
                  <a:pt x="2295142" y="0"/>
                </a:lnTo>
                <a:cubicBezTo>
                  <a:pt x="2296351" y="1084799"/>
                  <a:pt x="2293933" y="1426343"/>
                  <a:pt x="2295142" y="2511142"/>
                </a:cubicBezTo>
                <a:lnTo>
                  <a:pt x="437337" y="2511397"/>
                </a:lnTo>
                <a:lnTo>
                  <a:pt x="0" y="1627199"/>
                </a:lnTo>
                <a:close/>
              </a:path>
            </a:pathLst>
          </a:custGeom>
          <a:solidFill>
            <a:srgbClr val="006AB6">
              <a:alpha val="50000"/>
            </a:srgbClr>
          </a:solidFill>
        </p:spPr>
        <p:txBody>
          <a:bodyPr wrap="square">
            <a:noAutofit/>
          </a:bodyPr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74341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itle Slide - gradient">
    <p:bg>
      <p:bgPr>
        <a:gradFill>
          <a:gsLst>
            <a:gs pos="0">
              <a:schemeClr val="accent1"/>
            </a:gs>
            <a:gs pos="100000">
              <a:srgbClr val="006AB6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5">
            <a:extLst>
              <a:ext uri="{FF2B5EF4-FFF2-40B4-BE49-F238E27FC236}">
                <a16:creationId xmlns:a16="http://schemas.microsoft.com/office/drawing/2014/main" id="{9E8812ED-5D0D-AC49-878E-9121554C1F0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792803" y="793"/>
            <a:ext cx="3776400" cy="2497764"/>
          </a:xfrm>
          <a:custGeom>
            <a:avLst/>
            <a:gdLst>
              <a:gd name="connsiteX0" fmla="*/ 0 w 3776400"/>
              <a:gd name="connsiteY0" fmla="*/ 1627200 h 3254400"/>
              <a:gd name="connsiteX1" fmla="*/ 813600 w 3776400"/>
              <a:gd name="connsiteY1" fmla="*/ 1 h 3254400"/>
              <a:gd name="connsiteX2" fmla="*/ 2962800 w 3776400"/>
              <a:gd name="connsiteY2" fmla="*/ 1 h 3254400"/>
              <a:gd name="connsiteX3" fmla="*/ 3776400 w 3776400"/>
              <a:gd name="connsiteY3" fmla="*/ 1627200 h 3254400"/>
              <a:gd name="connsiteX4" fmla="*/ 2962800 w 3776400"/>
              <a:gd name="connsiteY4" fmla="*/ 3254399 h 3254400"/>
              <a:gd name="connsiteX5" fmla="*/ 813600 w 3776400"/>
              <a:gd name="connsiteY5" fmla="*/ 3254399 h 3254400"/>
              <a:gd name="connsiteX6" fmla="*/ 0 w 3776400"/>
              <a:gd name="connsiteY6" fmla="*/ 1627200 h 3254400"/>
              <a:gd name="connsiteX0" fmla="*/ 0 w 3776400"/>
              <a:gd name="connsiteY0" fmla="*/ 1627199 h 3254398"/>
              <a:gd name="connsiteX1" fmla="*/ 433673 w 3776400"/>
              <a:gd name="connsiteY1" fmla="*/ 759853 h 3254398"/>
              <a:gd name="connsiteX2" fmla="*/ 2962800 w 3776400"/>
              <a:gd name="connsiteY2" fmla="*/ 0 h 3254398"/>
              <a:gd name="connsiteX3" fmla="*/ 3776400 w 3776400"/>
              <a:gd name="connsiteY3" fmla="*/ 1627199 h 3254398"/>
              <a:gd name="connsiteX4" fmla="*/ 2962800 w 3776400"/>
              <a:gd name="connsiteY4" fmla="*/ 3254398 h 3254398"/>
              <a:gd name="connsiteX5" fmla="*/ 813600 w 3776400"/>
              <a:gd name="connsiteY5" fmla="*/ 3254398 h 3254398"/>
              <a:gd name="connsiteX6" fmla="*/ 0 w 3776400"/>
              <a:gd name="connsiteY6" fmla="*/ 1627199 h 3254398"/>
              <a:gd name="connsiteX0" fmla="*/ 0 w 3776400"/>
              <a:gd name="connsiteY0" fmla="*/ 870565 h 2497764"/>
              <a:gd name="connsiteX1" fmla="*/ 433673 w 3776400"/>
              <a:gd name="connsiteY1" fmla="*/ 3219 h 2497764"/>
              <a:gd name="connsiteX2" fmla="*/ 3342727 w 3776400"/>
              <a:gd name="connsiteY2" fmla="*/ 0 h 2497764"/>
              <a:gd name="connsiteX3" fmla="*/ 3776400 w 3776400"/>
              <a:gd name="connsiteY3" fmla="*/ 870565 h 2497764"/>
              <a:gd name="connsiteX4" fmla="*/ 2962800 w 3776400"/>
              <a:gd name="connsiteY4" fmla="*/ 2497764 h 2497764"/>
              <a:gd name="connsiteX5" fmla="*/ 813600 w 3776400"/>
              <a:gd name="connsiteY5" fmla="*/ 2497764 h 2497764"/>
              <a:gd name="connsiteX6" fmla="*/ 0 w 3776400"/>
              <a:gd name="connsiteY6" fmla="*/ 870565 h 2497764"/>
              <a:gd name="connsiteX0" fmla="*/ 0 w 3776400"/>
              <a:gd name="connsiteY0" fmla="*/ 899543 h 2526742"/>
              <a:gd name="connsiteX1" fmla="*/ 449771 w 3776400"/>
              <a:gd name="connsiteY1" fmla="*/ 0 h 2526742"/>
              <a:gd name="connsiteX2" fmla="*/ 3342727 w 3776400"/>
              <a:gd name="connsiteY2" fmla="*/ 28978 h 2526742"/>
              <a:gd name="connsiteX3" fmla="*/ 3776400 w 3776400"/>
              <a:gd name="connsiteY3" fmla="*/ 899543 h 2526742"/>
              <a:gd name="connsiteX4" fmla="*/ 2962800 w 3776400"/>
              <a:gd name="connsiteY4" fmla="*/ 2526742 h 2526742"/>
              <a:gd name="connsiteX5" fmla="*/ 813600 w 3776400"/>
              <a:gd name="connsiteY5" fmla="*/ 2526742 h 2526742"/>
              <a:gd name="connsiteX6" fmla="*/ 0 w 3776400"/>
              <a:gd name="connsiteY6" fmla="*/ 899543 h 2526742"/>
              <a:gd name="connsiteX0" fmla="*/ 0 w 3776400"/>
              <a:gd name="connsiteY0" fmla="*/ 870565 h 2497764"/>
              <a:gd name="connsiteX1" fmla="*/ 433673 w 3776400"/>
              <a:gd name="connsiteY1" fmla="*/ 0 h 2497764"/>
              <a:gd name="connsiteX2" fmla="*/ 3342727 w 3776400"/>
              <a:gd name="connsiteY2" fmla="*/ 0 h 2497764"/>
              <a:gd name="connsiteX3" fmla="*/ 3776400 w 3776400"/>
              <a:gd name="connsiteY3" fmla="*/ 870565 h 2497764"/>
              <a:gd name="connsiteX4" fmla="*/ 2962800 w 3776400"/>
              <a:gd name="connsiteY4" fmla="*/ 2497764 h 2497764"/>
              <a:gd name="connsiteX5" fmla="*/ 813600 w 3776400"/>
              <a:gd name="connsiteY5" fmla="*/ 2497764 h 2497764"/>
              <a:gd name="connsiteX6" fmla="*/ 0 w 3776400"/>
              <a:gd name="connsiteY6" fmla="*/ 870565 h 2497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76400" h="2497764">
                <a:moveTo>
                  <a:pt x="0" y="870565"/>
                </a:moveTo>
                <a:lnTo>
                  <a:pt x="433673" y="0"/>
                </a:lnTo>
                <a:lnTo>
                  <a:pt x="3342727" y="0"/>
                </a:lnTo>
                <a:lnTo>
                  <a:pt x="3776400" y="870565"/>
                </a:lnTo>
                <a:lnTo>
                  <a:pt x="2962800" y="2497764"/>
                </a:lnTo>
                <a:lnTo>
                  <a:pt x="813600" y="2497764"/>
                </a:lnTo>
                <a:lnTo>
                  <a:pt x="0" y="870565"/>
                </a:lnTo>
                <a:close/>
              </a:path>
            </a:pathLst>
          </a:custGeom>
          <a:solidFill>
            <a:srgbClr val="006AB6">
              <a:alpha val="50000"/>
            </a:srgbClr>
          </a:solidFill>
        </p:spPr>
        <p:txBody>
          <a:bodyPr wrap="square">
            <a:noAutofit/>
          </a:bodyPr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5846FDCE-0B82-6C46-861A-2E31FC2CA27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792803" y="2650075"/>
            <a:ext cx="3776400" cy="3254400"/>
          </a:xfrm>
          <a:prstGeom prst="hexagon">
            <a:avLst/>
          </a:prstGeom>
          <a:solidFill>
            <a:srgbClr val="006AB6">
              <a:alpha val="50000"/>
            </a:srgbClr>
          </a:solidFill>
        </p:spPr>
        <p:txBody>
          <a:bodyPr wrap="square">
            <a:noAutofit/>
          </a:bodyPr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18">
            <a:extLst>
              <a:ext uri="{FF2B5EF4-FFF2-40B4-BE49-F238E27FC236}">
                <a16:creationId xmlns:a16="http://schemas.microsoft.com/office/drawing/2014/main" id="{B2429BE0-7223-7E45-9CBD-EFE528CED2F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895924" y="942666"/>
            <a:ext cx="2295491" cy="3254398"/>
          </a:xfrm>
          <a:custGeom>
            <a:avLst/>
            <a:gdLst>
              <a:gd name="connsiteX0" fmla="*/ 0 w 3776400"/>
              <a:gd name="connsiteY0" fmla="*/ 1627200 h 3254400"/>
              <a:gd name="connsiteX1" fmla="*/ 813600 w 3776400"/>
              <a:gd name="connsiteY1" fmla="*/ 1 h 3254400"/>
              <a:gd name="connsiteX2" fmla="*/ 2962800 w 3776400"/>
              <a:gd name="connsiteY2" fmla="*/ 1 h 3254400"/>
              <a:gd name="connsiteX3" fmla="*/ 3776400 w 3776400"/>
              <a:gd name="connsiteY3" fmla="*/ 1627200 h 3254400"/>
              <a:gd name="connsiteX4" fmla="*/ 2962800 w 3776400"/>
              <a:gd name="connsiteY4" fmla="*/ 3254399 h 3254400"/>
              <a:gd name="connsiteX5" fmla="*/ 813600 w 3776400"/>
              <a:gd name="connsiteY5" fmla="*/ 3254399 h 3254400"/>
              <a:gd name="connsiteX6" fmla="*/ 0 w 3776400"/>
              <a:gd name="connsiteY6" fmla="*/ 1627200 h 3254400"/>
              <a:gd name="connsiteX0" fmla="*/ 0 w 3776400"/>
              <a:gd name="connsiteY0" fmla="*/ 1627199 h 3254398"/>
              <a:gd name="connsiteX1" fmla="*/ 813600 w 3776400"/>
              <a:gd name="connsiteY1" fmla="*/ 0 h 3254398"/>
              <a:gd name="connsiteX2" fmla="*/ 2291514 w 3776400"/>
              <a:gd name="connsiteY2" fmla="*/ 0 h 3254398"/>
              <a:gd name="connsiteX3" fmla="*/ 3776400 w 3776400"/>
              <a:gd name="connsiteY3" fmla="*/ 1627199 h 3254398"/>
              <a:gd name="connsiteX4" fmla="*/ 2962800 w 3776400"/>
              <a:gd name="connsiteY4" fmla="*/ 3254398 h 3254398"/>
              <a:gd name="connsiteX5" fmla="*/ 813600 w 3776400"/>
              <a:gd name="connsiteY5" fmla="*/ 3254398 h 3254398"/>
              <a:gd name="connsiteX6" fmla="*/ 0 w 3776400"/>
              <a:gd name="connsiteY6" fmla="*/ 1627199 h 3254398"/>
              <a:gd name="connsiteX0" fmla="*/ 0 w 3776400"/>
              <a:gd name="connsiteY0" fmla="*/ 1627199 h 3254398"/>
              <a:gd name="connsiteX1" fmla="*/ 813600 w 3776400"/>
              <a:gd name="connsiteY1" fmla="*/ 0 h 3254398"/>
              <a:gd name="connsiteX2" fmla="*/ 2291514 w 3776400"/>
              <a:gd name="connsiteY2" fmla="*/ 0 h 3254398"/>
              <a:gd name="connsiteX3" fmla="*/ 3776400 w 3776400"/>
              <a:gd name="connsiteY3" fmla="*/ 1627199 h 3254398"/>
              <a:gd name="connsiteX4" fmla="*/ 2295142 w 3776400"/>
              <a:gd name="connsiteY4" fmla="*/ 3254398 h 3254398"/>
              <a:gd name="connsiteX5" fmla="*/ 813600 w 3776400"/>
              <a:gd name="connsiteY5" fmla="*/ 3254398 h 3254398"/>
              <a:gd name="connsiteX6" fmla="*/ 0 w 3776400"/>
              <a:gd name="connsiteY6" fmla="*/ 1627199 h 3254398"/>
              <a:gd name="connsiteX0" fmla="*/ 0 w 2295142"/>
              <a:gd name="connsiteY0" fmla="*/ 1627199 h 3254398"/>
              <a:gd name="connsiteX1" fmla="*/ 813600 w 2295142"/>
              <a:gd name="connsiteY1" fmla="*/ 0 h 3254398"/>
              <a:gd name="connsiteX2" fmla="*/ 2291514 w 2295142"/>
              <a:gd name="connsiteY2" fmla="*/ 0 h 3254398"/>
              <a:gd name="connsiteX3" fmla="*/ 2295142 w 2295142"/>
              <a:gd name="connsiteY3" fmla="*/ 3254398 h 3254398"/>
              <a:gd name="connsiteX4" fmla="*/ 813600 w 2295142"/>
              <a:gd name="connsiteY4" fmla="*/ 3254398 h 3254398"/>
              <a:gd name="connsiteX5" fmla="*/ 0 w 2295142"/>
              <a:gd name="connsiteY5" fmla="*/ 1627199 h 3254398"/>
              <a:gd name="connsiteX0" fmla="*/ 0 w 2465691"/>
              <a:gd name="connsiteY0" fmla="*/ 1627199 h 3254398"/>
              <a:gd name="connsiteX1" fmla="*/ 813600 w 2465691"/>
              <a:gd name="connsiteY1" fmla="*/ 0 h 3254398"/>
              <a:gd name="connsiteX2" fmla="*/ 2465685 w 2465691"/>
              <a:gd name="connsiteY2" fmla="*/ 0 h 3254398"/>
              <a:gd name="connsiteX3" fmla="*/ 2295142 w 2465691"/>
              <a:gd name="connsiteY3" fmla="*/ 3254398 h 3254398"/>
              <a:gd name="connsiteX4" fmla="*/ 813600 w 2465691"/>
              <a:gd name="connsiteY4" fmla="*/ 3254398 h 3254398"/>
              <a:gd name="connsiteX5" fmla="*/ 0 w 2465691"/>
              <a:gd name="connsiteY5" fmla="*/ 1627199 h 3254398"/>
              <a:gd name="connsiteX0" fmla="*/ 0 w 2295491"/>
              <a:gd name="connsiteY0" fmla="*/ 1627199 h 3254398"/>
              <a:gd name="connsiteX1" fmla="*/ 813600 w 2295491"/>
              <a:gd name="connsiteY1" fmla="*/ 0 h 3254398"/>
              <a:gd name="connsiteX2" fmla="*/ 2295142 w 2295491"/>
              <a:gd name="connsiteY2" fmla="*/ 0 h 3254398"/>
              <a:gd name="connsiteX3" fmla="*/ 2295142 w 2295491"/>
              <a:gd name="connsiteY3" fmla="*/ 3254398 h 3254398"/>
              <a:gd name="connsiteX4" fmla="*/ 813600 w 2295491"/>
              <a:gd name="connsiteY4" fmla="*/ 3254398 h 3254398"/>
              <a:gd name="connsiteX5" fmla="*/ 0 w 2295491"/>
              <a:gd name="connsiteY5" fmla="*/ 1627199 h 3254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95491" h="3254398">
                <a:moveTo>
                  <a:pt x="0" y="1627199"/>
                </a:moveTo>
                <a:lnTo>
                  <a:pt x="813600" y="0"/>
                </a:lnTo>
                <a:lnTo>
                  <a:pt x="2295142" y="0"/>
                </a:lnTo>
                <a:cubicBezTo>
                  <a:pt x="2296351" y="1084799"/>
                  <a:pt x="2293933" y="2169599"/>
                  <a:pt x="2295142" y="3254398"/>
                </a:cubicBezTo>
                <a:lnTo>
                  <a:pt x="813600" y="3254398"/>
                </a:lnTo>
                <a:lnTo>
                  <a:pt x="0" y="1627199"/>
                </a:lnTo>
                <a:close/>
              </a:path>
            </a:pathLst>
          </a:custGeom>
          <a:solidFill>
            <a:srgbClr val="006AB6">
              <a:alpha val="50000"/>
            </a:srgbClr>
          </a:solidFill>
        </p:spPr>
        <p:txBody>
          <a:bodyPr wrap="square">
            <a:noAutofit/>
          </a:bodyPr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0F6D8C38-CC51-B54A-BD3E-EDCF09E682C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689682" y="4348583"/>
            <a:ext cx="3776400" cy="2511448"/>
          </a:xfrm>
          <a:custGeom>
            <a:avLst/>
            <a:gdLst>
              <a:gd name="connsiteX0" fmla="*/ 0 w 3776400"/>
              <a:gd name="connsiteY0" fmla="*/ 1627200 h 3254400"/>
              <a:gd name="connsiteX1" fmla="*/ 813600 w 3776400"/>
              <a:gd name="connsiteY1" fmla="*/ 1 h 3254400"/>
              <a:gd name="connsiteX2" fmla="*/ 2962800 w 3776400"/>
              <a:gd name="connsiteY2" fmla="*/ 1 h 3254400"/>
              <a:gd name="connsiteX3" fmla="*/ 3776400 w 3776400"/>
              <a:gd name="connsiteY3" fmla="*/ 1627200 h 3254400"/>
              <a:gd name="connsiteX4" fmla="*/ 2962800 w 3776400"/>
              <a:gd name="connsiteY4" fmla="*/ 3254399 h 3254400"/>
              <a:gd name="connsiteX5" fmla="*/ 813600 w 3776400"/>
              <a:gd name="connsiteY5" fmla="*/ 3254399 h 3254400"/>
              <a:gd name="connsiteX6" fmla="*/ 0 w 3776400"/>
              <a:gd name="connsiteY6" fmla="*/ 1627200 h 3254400"/>
              <a:gd name="connsiteX0" fmla="*/ 0 w 3776400"/>
              <a:gd name="connsiteY0" fmla="*/ 1627199 h 3254398"/>
              <a:gd name="connsiteX1" fmla="*/ 813600 w 3776400"/>
              <a:gd name="connsiteY1" fmla="*/ 0 h 3254398"/>
              <a:gd name="connsiteX2" fmla="*/ 2962800 w 3776400"/>
              <a:gd name="connsiteY2" fmla="*/ 0 h 3254398"/>
              <a:gd name="connsiteX3" fmla="*/ 3776400 w 3776400"/>
              <a:gd name="connsiteY3" fmla="*/ 1627199 h 3254398"/>
              <a:gd name="connsiteX4" fmla="*/ 2962800 w 3776400"/>
              <a:gd name="connsiteY4" fmla="*/ 3254398 h 3254398"/>
              <a:gd name="connsiteX5" fmla="*/ 442125 w 3776400"/>
              <a:gd name="connsiteY5" fmla="*/ 2511448 h 3254398"/>
              <a:gd name="connsiteX6" fmla="*/ 0 w 3776400"/>
              <a:gd name="connsiteY6" fmla="*/ 1627199 h 3254398"/>
              <a:gd name="connsiteX0" fmla="*/ 0 w 3776400"/>
              <a:gd name="connsiteY0" fmla="*/ 1627199 h 2511448"/>
              <a:gd name="connsiteX1" fmla="*/ 813600 w 3776400"/>
              <a:gd name="connsiteY1" fmla="*/ 0 h 2511448"/>
              <a:gd name="connsiteX2" fmla="*/ 2962800 w 3776400"/>
              <a:gd name="connsiteY2" fmla="*/ 0 h 2511448"/>
              <a:gd name="connsiteX3" fmla="*/ 3776400 w 3776400"/>
              <a:gd name="connsiteY3" fmla="*/ 1627199 h 2511448"/>
              <a:gd name="connsiteX4" fmla="*/ 3331100 w 3776400"/>
              <a:gd name="connsiteY4" fmla="*/ 2511448 h 2511448"/>
              <a:gd name="connsiteX5" fmla="*/ 442125 w 3776400"/>
              <a:gd name="connsiteY5" fmla="*/ 2511448 h 2511448"/>
              <a:gd name="connsiteX6" fmla="*/ 0 w 3776400"/>
              <a:gd name="connsiteY6" fmla="*/ 1627199 h 2511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76400" h="2511448">
                <a:moveTo>
                  <a:pt x="0" y="1627199"/>
                </a:moveTo>
                <a:lnTo>
                  <a:pt x="813600" y="0"/>
                </a:lnTo>
                <a:lnTo>
                  <a:pt x="2962800" y="0"/>
                </a:lnTo>
                <a:lnTo>
                  <a:pt x="3776400" y="1627199"/>
                </a:lnTo>
                <a:lnTo>
                  <a:pt x="3331100" y="2511448"/>
                </a:lnTo>
                <a:lnTo>
                  <a:pt x="442125" y="2511448"/>
                </a:lnTo>
                <a:lnTo>
                  <a:pt x="0" y="1627199"/>
                </a:lnTo>
                <a:close/>
              </a:path>
            </a:pathLst>
          </a:custGeom>
          <a:solidFill>
            <a:srgbClr val="006AB6">
              <a:alpha val="50000"/>
            </a:srgbClr>
          </a:solidFill>
        </p:spPr>
        <p:txBody>
          <a:bodyPr wrap="square">
            <a:noAutofit/>
          </a:bodyPr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817A982-743C-D343-89A9-4DBDDA5276F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895923" y="4348582"/>
            <a:ext cx="2295491" cy="2511397"/>
          </a:xfrm>
          <a:custGeom>
            <a:avLst/>
            <a:gdLst>
              <a:gd name="connsiteX0" fmla="*/ 0 w 3776400"/>
              <a:gd name="connsiteY0" fmla="*/ 1627200 h 3254400"/>
              <a:gd name="connsiteX1" fmla="*/ 813600 w 3776400"/>
              <a:gd name="connsiteY1" fmla="*/ 1 h 3254400"/>
              <a:gd name="connsiteX2" fmla="*/ 2962800 w 3776400"/>
              <a:gd name="connsiteY2" fmla="*/ 1 h 3254400"/>
              <a:gd name="connsiteX3" fmla="*/ 3776400 w 3776400"/>
              <a:gd name="connsiteY3" fmla="*/ 1627200 h 3254400"/>
              <a:gd name="connsiteX4" fmla="*/ 2962800 w 3776400"/>
              <a:gd name="connsiteY4" fmla="*/ 3254399 h 3254400"/>
              <a:gd name="connsiteX5" fmla="*/ 813600 w 3776400"/>
              <a:gd name="connsiteY5" fmla="*/ 3254399 h 3254400"/>
              <a:gd name="connsiteX6" fmla="*/ 0 w 3776400"/>
              <a:gd name="connsiteY6" fmla="*/ 1627200 h 3254400"/>
              <a:gd name="connsiteX0" fmla="*/ 0 w 3776400"/>
              <a:gd name="connsiteY0" fmla="*/ 1627199 h 3254398"/>
              <a:gd name="connsiteX1" fmla="*/ 813600 w 3776400"/>
              <a:gd name="connsiteY1" fmla="*/ 0 h 3254398"/>
              <a:gd name="connsiteX2" fmla="*/ 2291514 w 3776400"/>
              <a:gd name="connsiteY2" fmla="*/ 0 h 3254398"/>
              <a:gd name="connsiteX3" fmla="*/ 3776400 w 3776400"/>
              <a:gd name="connsiteY3" fmla="*/ 1627199 h 3254398"/>
              <a:gd name="connsiteX4" fmla="*/ 2962800 w 3776400"/>
              <a:gd name="connsiteY4" fmla="*/ 3254398 h 3254398"/>
              <a:gd name="connsiteX5" fmla="*/ 813600 w 3776400"/>
              <a:gd name="connsiteY5" fmla="*/ 3254398 h 3254398"/>
              <a:gd name="connsiteX6" fmla="*/ 0 w 3776400"/>
              <a:gd name="connsiteY6" fmla="*/ 1627199 h 3254398"/>
              <a:gd name="connsiteX0" fmla="*/ 0 w 3776400"/>
              <a:gd name="connsiteY0" fmla="*/ 1627199 h 3254398"/>
              <a:gd name="connsiteX1" fmla="*/ 813600 w 3776400"/>
              <a:gd name="connsiteY1" fmla="*/ 0 h 3254398"/>
              <a:gd name="connsiteX2" fmla="*/ 2291514 w 3776400"/>
              <a:gd name="connsiteY2" fmla="*/ 0 h 3254398"/>
              <a:gd name="connsiteX3" fmla="*/ 3776400 w 3776400"/>
              <a:gd name="connsiteY3" fmla="*/ 1627199 h 3254398"/>
              <a:gd name="connsiteX4" fmla="*/ 2295142 w 3776400"/>
              <a:gd name="connsiteY4" fmla="*/ 3254398 h 3254398"/>
              <a:gd name="connsiteX5" fmla="*/ 813600 w 3776400"/>
              <a:gd name="connsiteY5" fmla="*/ 3254398 h 3254398"/>
              <a:gd name="connsiteX6" fmla="*/ 0 w 3776400"/>
              <a:gd name="connsiteY6" fmla="*/ 1627199 h 3254398"/>
              <a:gd name="connsiteX0" fmla="*/ 0 w 2295142"/>
              <a:gd name="connsiteY0" fmla="*/ 1627199 h 3254398"/>
              <a:gd name="connsiteX1" fmla="*/ 813600 w 2295142"/>
              <a:gd name="connsiteY1" fmla="*/ 0 h 3254398"/>
              <a:gd name="connsiteX2" fmla="*/ 2291514 w 2295142"/>
              <a:gd name="connsiteY2" fmla="*/ 0 h 3254398"/>
              <a:gd name="connsiteX3" fmla="*/ 2295142 w 2295142"/>
              <a:gd name="connsiteY3" fmla="*/ 3254398 h 3254398"/>
              <a:gd name="connsiteX4" fmla="*/ 813600 w 2295142"/>
              <a:gd name="connsiteY4" fmla="*/ 3254398 h 3254398"/>
              <a:gd name="connsiteX5" fmla="*/ 0 w 2295142"/>
              <a:gd name="connsiteY5" fmla="*/ 1627199 h 3254398"/>
              <a:gd name="connsiteX0" fmla="*/ 0 w 2465691"/>
              <a:gd name="connsiteY0" fmla="*/ 1627199 h 3254398"/>
              <a:gd name="connsiteX1" fmla="*/ 813600 w 2465691"/>
              <a:gd name="connsiteY1" fmla="*/ 0 h 3254398"/>
              <a:gd name="connsiteX2" fmla="*/ 2465685 w 2465691"/>
              <a:gd name="connsiteY2" fmla="*/ 0 h 3254398"/>
              <a:gd name="connsiteX3" fmla="*/ 2295142 w 2465691"/>
              <a:gd name="connsiteY3" fmla="*/ 3254398 h 3254398"/>
              <a:gd name="connsiteX4" fmla="*/ 813600 w 2465691"/>
              <a:gd name="connsiteY4" fmla="*/ 3254398 h 3254398"/>
              <a:gd name="connsiteX5" fmla="*/ 0 w 2465691"/>
              <a:gd name="connsiteY5" fmla="*/ 1627199 h 3254398"/>
              <a:gd name="connsiteX0" fmla="*/ 0 w 2295491"/>
              <a:gd name="connsiteY0" fmla="*/ 1627199 h 3254398"/>
              <a:gd name="connsiteX1" fmla="*/ 813600 w 2295491"/>
              <a:gd name="connsiteY1" fmla="*/ 0 h 3254398"/>
              <a:gd name="connsiteX2" fmla="*/ 2295142 w 2295491"/>
              <a:gd name="connsiteY2" fmla="*/ 0 h 3254398"/>
              <a:gd name="connsiteX3" fmla="*/ 2295142 w 2295491"/>
              <a:gd name="connsiteY3" fmla="*/ 3254398 h 3254398"/>
              <a:gd name="connsiteX4" fmla="*/ 813600 w 2295491"/>
              <a:gd name="connsiteY4" fmla="*/ 3254398 h 3254398"/>
              <a:gd name="connsiteX5" fmla="*/ 0 w 2295491"/>
              <a:gd name="connsiteY5" fmla="*/ 1627199 h 3254398"/>
              <a:gd name="connsiteX0" fmla="*/ 0 w 2295491"/>
              <a:gd name="connsiteY0" fmla="*/ 1627199 h 3254398"/>
              <a:gd name="connsiteX1" fmla="*/ 813600 w 2295491"/>
              <a:gd name="connsiteY1" fmla="*/ 0 h 3254398"/>
              <a:gd name="connsiteX2" fmla="*/ 2295142 w 2295491"/>
              <a:gd name="connsiteY2" fmla="*/ 0 h 3254398"/>
              <a:gd name="connsiteX3" fmla="*/ 2295142 w 2295491"/>
              <a:gd name="connsiteY3" fmla="*/ 3254398 h 3254398"/>
              <a:gd name="connsiteX4" fmla="*/ 446862 w 2295491"/>
              <a:gd name="connsiteY4" fmla="*/ 2520922 h 3254398"/>
              <a:gd name="connsiteX5" fmla="*/ 0 w 2295491"/>
              <a:gd name="connsiteY5" fmla="*/ 1627199 h 3254398"/>
              <a:gd name="connsiteX0" fmla="*/ 0 w 2295491"/>
              <a:gd name="connsiteY0" fmla="*/ 1627199 h 2520922"/>
              <a:gd name="connsiteX1" fmla="*/ 813600 w 2295491"/>
              <a:gd name="connsiteY1" fmla="*/ 0 h 2520922"/>
              <a:gd name="connsiteX2" fmla="*/ 2295142 w 2295491"/>
              <a:gd name="connsiteY2" fmla="*/ 0 h 2520922"/>
              <a:gd name="connsiteX3" fmla="*/ 2295142 w 2295491"/>
              <a:gd name="connsiteY3" fmla="*/ 2511142 h 2520922"/>
              <a:gd name="connsiteX4" fmla="*/ 446862 w 2295491"/>
              <a:gd name="connsiteY4" fmla="*/ 2520922 h 2520922"/>
              <a:gd name="connsiteX5" fmla="*/ 0 w 2295491"/>
              <a:gd name="connsiteY5" fmla="*/ 1627199 h 2520922"/>
              <a:gd name="connsiteX0" fmla="*/ 0 w 2295491"/>
              <a:gd name="connsiteY0" fmla="*/ 1627199 h 2590772"/>
              <a:gd name="connsiteX1" fmla="*/ 813600 w 2295491"/>
              <a:gd name="connsiteY1" fmla="*/ 0 h 2590772"/>
              <a:gd name="connsiteX2" fmla="*/ 2295142 w 2295491"/>
              <a:gd name="connsiteY2" fmla="*/ 0 h 2590772"/>
              <a:gd name="connsiteX3" fmla="*/ 2295142 w 2295491"/>
              <a:gd name="connsiteY3" fmla="*/ 2511142 h 2590772"/>
              <a:gd name="connsiteX4" fmla="*/ 481787 w 2295491"/>
              <a:gd name="connsiteY4" fmla="*/ 2590772 h 2590772"/>
              <a:gd name="connsiteX5" fmla="*/ 0 w 2295491"/>
              <a:gd name="connsiteY5" fmla="*/ 1627199 h 2590772"/>
              <a:gd name="connsiteX0" fmla="*/ 0 w 2295491"/>
              <a:gd name="connsiteY0" fmla="*/ 1627199 h 2511142"/>
              <a:gd name="connsiteX1" fmla="*/ 813600 w 2295491"/>
              <a:gd name="connsiteY1" fmla="*/ 0 h 2511142"/>
              <a:gd name="connsiteX2" fmla="*/ 2295142 w 2295491"/>
              <a:gd name="connsiteY2" fmla="*/ 0 h 2511142"/>
              <a:gd name="connsiteX3" fmla="*/ 2295142 w 2295491"/>
              <a:gd name="connsiteY3" fmla="*/ 2511142 h 2511142"/>
              <a:gd name="connsiteX4" fmla="*/ 440512 w 2295491"/>
              <a:gd name="connsiteY4" fmla="*/ 2508222 h 2511142"/>
              <a:gd name="connsiteX5" fmla="*/ 0 w 2295491"/>
              <a:gd name="connsiteY5" fmla="*/ 1627199 h 2511142"/>
              <a:gd name="connsiteX0" fmla="*/ 0 w 2295491"/>
              <a:gd name="connsiteY0" fmla="*/ 1627199 h 2511142"/>
              <a:gd name="connsiteX1" fmla="*/ 813600 w 2295491"/>
              <a:gd name="connsiteY1" fmla="*/ 0 h 2511142"/>
              <a:gd name="connsiteX2" fmla="*/ 2295142 w 2295491"/>
              <a:gd name="connsiteY2" fmla="*/ 0 h 2511142"/>
              <a:gd name="connsiteX3" fmla="*/ 2295142 w 2295491"/>
              <a:gd name="connsiteY3" fmla="*/ 2511142 h 2511142"/>
              <a:gd name="connsiteX4" fmla="*/ 440512 w 2295491"/>
              <a:gd name="connsiteY4" fmla="*/ 2508222 h 2511142"/>
              <a:gd name="connsiteX5" fmla="*/ 0 w 2295491"/>
              <a:gd name="connsiteY5" fmla="*/ 1627199 h 2511142"/>
              <a:gd name="connsiteX0" fmla="*/ 0 w 2295491"/>
              <a:gd name="connsiteY0" fmla="*/ 1627199 h 2520922"/>
              <a:gd name="connsiteX1" fmla="*/ 813600 w 2295491"/>
              <a:gd name="connsiteY1" fmla="*/ 0 h 2520922"/>
              <a:gd name="connsiteX2" fmla="*/ 2295142 w 2295491"/>
              <a:gd name="connsiteY2" fmla="*/ 0 h 2520922"/>
              <a:gd name="connsiteX3" fmla="*/ 2295142 w 2295491"/>
              <a:gd name="connsiteY3" fmla="*/ 2511142 h 2520922"/>
              <a:gd name="connsiteX4" fmla="*/ 443687 w 2295491"/>
              <a:gd name="connsiteY4" fmla="*/ 2520922 h 2520922"/>
              <a:gd name="connsiteX5" fmla="*/ 0 w 2295491"/>
              <a:gd name="connsiteY5" fmla="*/ 1627199 h 2520922"/>
              <a:gd name="connsiteX0" fmla="*/ 0 w 2295491"/>
              <a:gd name="connsiteY0" fmla="*/ 1627199 h 2511397"/>
              <a:gd name="connsiteX1" fmla="*/ 813600 w 2295491"/>
              <a:gd name="connsiteY1" fmla="*/ 0 h 2511397"/>
              <a:gd name="connsiteX2" fmla="*/ 2295142 w 2295491"/>
              <a:gd name="connsiteY2" fmla="*/ 0 h 2511397"/>
              <a:gd name="connsiteX3" fmla="*/ 2295142 w 2295491"/>
              <a:gd name="connsiteY3" fmla="*/ 2511142 h 2511397"/>
              <a:gd name="connsiteX4" fmla="*/ 437337 w 2295491"/>
              <a:gd name="connsiteY4" fmla="*/ 2511397 h 2511397"/>
              <a:gd name="connsiteX5" fmla="*/ 0 w 2295491"/>
              <a:gd name="connsiteY5" fmla="*/ 1627199 h 2511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95491" h="2511397">
                <a:moveTo>
                  <a:pt x="0" y="1627199"/>
                </a:moveTo>
                <a:lnTo>
                  <a:pt x="813600" y="0"/>
                </a:lnTo>
                <a:lnTo>
                  <a:pt x="2295142" y="0"/>
                </a:lnTo>
                <a:cubicBezTo>
                  <a:pt x="2296351" y="1084799"/>
                  <a:pt x="2293933" y="1426343"/>
                  <a:pt x="2295142" y="2511142"/>
                </a:cubicBezTo>
                <a:lnTo>
                  <a:pt x="437337" y="2511397"/>
                </a:lnTo>
                <a:lnTo>
                  <a:pt x="0" y="1627199"/>
                </a:lnTo>
                <a:close/>
              </a:path>
            </a:pathLst>
          </a:custGeom>
          <a:solidFill>
            <a:srgbClr val="006AB6">
              <a:alpha val="50000"/>
            </a:srgbClr>
          </a:solidFill>
        </p:spPr>
        <p:txBody>
          <a:bodyPr wrap="square">
            <a:noAutofit/>
          </a:bodyPr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130A20B-4D56-874D-9BB8-ED7002AD2F0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2714249"/>
            <a:ext cx="5716479" cy="2171185"/>
          </a:xfrm>
          <a:noFill/>
        </p:spPr>
        <p:txBody>
          <a:bodyPr anchor="t">
            <a:normAutofit/>
          </a:bodyPr>
          <a:lstStyle>
            <a:lvl1pPr algn="l"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6C77283-1A6D-9448-A967-C3A38830DD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8201" y="-19459"/>
            <a:ext cx="5716479" cy="2416514"/>
          </a:xfrm>
          <a:noFill/>
        </p:spPr>
        <p:txBody>
          <a:bodyPr anchor="b"/>
          <a:lstStyle>
            <a:lvl1pPr marL="0" indent="0" algn="l">
              <a:buNone/>
              <a:defRPr sz="2800" spc="1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FI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0AEE47C-9D58-E842-8356-34FB389C8E73}"/>
              </a:ext>
            </a:extLst>
          </p:cNvPr>
          <p:cNvCxnSpPr>
            <a:cxnSpLocks/>
          </p:cNvCxnSpPr>
          <p:nvPr userDrawn="1"/>
        </p:nvCxnSpPr>
        <p:spPr>
          <a:xfrm>
            <a:off x="838200" y="2569865"/>
            <a:ext cx="6096000" cy="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B307982-FAD6-074D-B946-CD43C9E96A62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838201" y="4885434"/>
            <a:ext cx="2851482" cy="1019041"/>
          </a:xfrm>
          <a:noFill/>
          <a:ln>
            <a:noFill/>
          </a:ln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31" name="Picture 30" descr="Icon&#10;&#10;Description automatically generated">
            <a:extLst>
              <a:ext uri="{FF2B5EF4-FFF2-40B4-BE49-F238E27FC236}">
                <a16:creationId xmlns:a16="http://schemas.microsoft.com/office/drawing/2014/main" id="{EE1C4C68-F6A4-A941-9163-602EDDFAE3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30644" y="107806"/>
            <a:ext cx="1054100" cy="741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1477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C445EA-74A3-BF44-BC12-6B4C2D6759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effectLst>
            <a:outerShdw blurRad="254000" algn="tl" rotWithShape="0">
              <a:prstClr val="black">
                <a:alpha val="40000"/>
              </a:prstClr>
            </a:outerShdw>
          </a:effectLst>
        </p:spPr>
        <p:txBody>
          <a:bodyPr anchor="b"/>
          <a:lstStyle>
            <a:lvl1pPr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6F5873-AF24-E34A-A3DC-986E8F2FD2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734888"/>
            <a:ext cx="10515600" cy="1306635"/>
          </a:xfrm>
          <a:effectLst>
            <a:outerShdw blurRad="254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E8A1F1C0-0FFB-9A44-862A-EC32D4BAD65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830644" y="107806"/>
            <a:ext cx="1054100" cy="741443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494371F-1C83-3743-916A-A0C0C2840285}"/>
              </a:ext>
            </a:extLst>
          </p:cNvPr>
          <p:cNvCxnSpPr>
            <a:cxnSpLocks/>
          </p:cNvCxnSpPr>
          <p:nvPr userDrawn="1"/>
        </p:nvCxnSpPr>
        <p:spPr>
          <a:xfrm>
            <a:off x="838200" y="4633212"/>
            <a:ext cx="10509250" cy="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B1FF9E3E-DE65-2445-B0A5-2370066FEAFE}"/>
              </a:ext>
            </a:extLst>
          </p:cNvPr>
          <p:cNvSpPr txBox="1"/>
          <p:nvPr userDrawn="1"/>
        </p:nvSpPr>
        <p:spPr>
          <a:xfrm>
            <a:off x="8280400" y="423672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35370977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C445EA-74A3-BF44-BC12-6B4C2D6759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effectLst>
            <a:outerShdw blurRad="254000" algn="tl" rotWithShape="0">
              <a:prstClr val="black">
                <a:alpha val="40000"/>
              </a:prstClr>
            </a:outerShdw>
          </a:effectLst>
        </p:spPr>
        <p:txBody>
          <a:bodyPr anchor="b">
            <a:normAutofit/>
          </a:bodyPr>
          <a:lstStyle>
            <a:lvl1pPr>
              <a:defRPr sz="4000" b="1"/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6F5873-AF24-E34A-A3DC-986E8F2FD2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734888"/>
            <a:ext cx="10515600" cy="1306635"/>
          </a:xfrm>
          <a:effectLst>
            <a:outerShdw blurRad="254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CEF1DF66-6CC7-2E44-98C1-553EB2EDF19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830644" y="107806"/>
            <a:ext cx="1054100" cy="741443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23B5FC-0CCA-AF44-B13C-CA3DF49E08B9}"/>
              </a:ext>
            </a:extLst>
          </p:cNvPr>
          <p:cNvCxnSpPr>
            <a:cxnSpLocks/>
          </p:cNvCxnSpPr>
          <p:nvPr userDrawn="1"/>
        </p:nvCxnSpPr>
        <p:spPr>
          <a:xfrm>
            <a:off x="838200" y="4633212"/>
            <a:ext cx="10509250" cy="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98589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C445EA-74A3-BF44-BC12-6B4C2D6759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effectLst>
            <a:outerShdw blurRad="254000" algn="tl" rotWithShape="0">
              <a:prstClr val="black">
                <a:alpha val="40000"/>
              </a:prstClr>
            </a:outerShdw>
          </a:effectLst>
        </p:spPr>
        <p:txBody>
          <a:bodyPr anchor="b">
            <a:normAutofit/>
          </a:bodyPr>
          <a:lstStyle>
            <a:lvl1pPr>
              <a:defRPr sz="4000" b="1"/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6F5873-AF24-E34A-A3DC-986E8F2FD2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734888"/>
            <a:ext cx="10515600" cy="1306635"/>
          </a:xfrm>
          <a:effectLst>
            <a:outerShdw blurRad="254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CEF1DF66-6CC7-2E44-98C1-553EB2EDF19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830644" y="107806"/>
            <a:ext cx="1054100" cy="741443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23B5FC-0CCA-AF44-B13C-CA3DF49E08B9}"/>
              </a:ext>
            </a:extLst>
          </p:cNvPr>
          <p:cNvCxnSpPr>
            <a:cxnSpLocks/>
          </p:cNvCxnSpPr>
          <p:nvPr userDrawn="1"/>
        </p:nvCxnSpPr>
        <p:spPr>
          <a:xfrm>
            <a:off x="838200" y="4633212"/>
            <a:ext cx="10509250" cy="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52498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5" Type="http://schemas.openxmlformats.org/officeDocument/2006/relationships/slideLayout" Target="../slideLayouts/slideLayout44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BDA8E04-160B-9A44-90FA-ED52AA4C80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6A0C51-A7DE-C64D-8368-96181C16A5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762B6B-9E13-6A4E-A4C6-F2BF01AF95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25404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Trebuchet MS" panose="020B0703020202090204" pitchFamily="34" charset="0"/>
              </a:defRPr>
            </a:lvl1pPr>
          </a:lstStyle>
          <a:p>
            <a:fld id="{978044AF-CED4-0041-B851-6374C8DF4BD0}" type="datetimeFigureOut">
              <a:rPr lang="en-US" smtClean="0"/>
              <a:pPr/>
              <a:t>9/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6698E0-33E2-964C-BBF8-B5E032967F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10600" y="625404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3"/>
                </a:solidFill>
                <a:latin typeface="Trebuchet MS" panose="020B070302020209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4218BC-D3AC-0743-B78B-AAC6B7DD20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724261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AD2E7D-A09E-5D4B-BE1A-52F85D70DBA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64320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727" r:id="rId2"/>
    <p:sldLayoutId id="2147483666" r:id="rId3"/>
    <p:sldLayoutId id="2147483720" r:id="rId4"/>
    <p:sldLayoutId id="2147483719" r:id="rId5"/>
    <p:sldLayoutId id="2147483660" r:id="rId6"/>
    <p:sldLayoutId id="2147483669" r:id="rId7"/>
    <p:sldLayoutId id="2147483702" r:id="rId8"/>
    <p:sldLayoutId id="2147483731" r:id="rId9"/>
    <p:sldLayoutId id="2147483739" r:id="rId10"/>
    <p:sldLayoutId id="2147483740" r:id="rId11"/>
    <p:sldLayoutId id="2147483741" r:id="rId12"/>
    <p:sldLayoutId id="2147483664" r:id="rId13"/>
    <p:sldLayoutId id="2147483665" r:id="rId14"/>
    <p:sldLayoutId id="2147483728" r:id="rId15"/>
    <p:sldLayoutId id="2147483653" r:id="rId16"/>
    <p:sldLayoutId id="2147483673" r:id="rId17"/>
    <p:sldLayoutId id="2147483722" r:id="rId18"/>
    <p:sldLayoutId id="2147483682" r:id="rId19"/>
    <p:sldLayoutId id="2147483683" r:id="rId20"/>
    <p:sldLayoutId id="2147483723" r:id="rId21"/>
    <p:sldLayoutId id="2147483705" r:id="rId22"/>
    <p:sldLayoutId id="2147483733" r:id="rId23"/>
    <p:sldLayoutId id="2147483708" r:id="rId24"/>
    <p:sldLayoutId id="2147483656" r:id="rId25"/>
    <p:sldLayoutId id="2147483734" r:id="rId26"/>
    <p:sldLayoutId id="2147483685" r:id="rId27"/>
    <p:sldLayoutId id="2147483711" r:id="rId28"/>
    <p:sldLayoutId id="2147483729" r:id="rId29"/>
    <p:sldLayoutId id="2147483706" r:id="rId30"/>
    <p:sldLayoutId id="2147483724" r:id="rId31"/>
    <p:sldLayoutId id="2147483725" r:id="rId32"/>
    <p:sldLayoutId id="2147483714" r:id="rId33"/>
    <p:sldLayoutId id="2147483713" r:id="rId34"/>
    <p:sldLayoutId id="2147483726" r:id="rId35"/>
    <p:sldLayoutId id="2147483684" r:id="rId36"/>
    <p:sldLayoutId id="2147483704" r:id="rId37"/>
    <p:sldLayoutId id="2147483732" r:id="rId38"/>
    <p:sldLayoutId id="2147483730" r:id="rId39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000" kern="1200">
          <a:solidFill>
            <a:schemeClr val="tx1"/>
          </a:solidFill>
          <a:latin typeface="Trebuchet MS" panose="020B070302020209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Tx/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9100" y="356659"/>
            <a:ext cx="11353800" cy="99165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quez pour modifier le ti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9100" y="1579034"/>
            <a:ext cx="11353800" cy="44873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quez pour modifier le texte</a:t>
            </a:r>
          </a:p>
          <a:p>
            <a:pPr lvl="1"/>
            <a:r>
              <a:rPr lang="en-US" noProof="0"/>
              <a:t>Deuxième niveau</a:t>
            </a:r>
          </a:p>
          <a:p>
            <a:pPr lvl="2"/>
            <a:r>
              <a:rPr lang="en-US" noProof="0"/>
              <a:t>Troisième niveau</a:t>
            </a:r>
          </a:p>
          <a:p>
            <a:pPr lvl="3"/>
            <a:r>
              <a:rPr lang="en-US" noProof="0"/>
              <a:t>Quatrième niveau</a:t>
            </a:r>
          </a:p>
          <a:p>
            <a:pPr lvl="4"/>
            <a:r>
              <a:rPr lang="en-US" noProof="0"/>
              <a:t>Cinquième niveau</a:t>
            </a:r>
          </a:p>
          <a:p>
            <a:pPr lvl="5"/>
            <a:r>
              <a:rPr lang="en-US" noProof="0"/>
              <a:t>Sixième niveau</a:t>
            </a:r>
          </a:p>
        </p:txBody>
      </p:sp>
    </p:spTree>
    <p:extLst>
      <p:ext uri="{BB962C8B-B14F-4D97-AF65-F5344CB8AC3E}">
        <p14:creationId xmlns:p14="http://schemas.microsoft.com/office/powerpoint/2010/main" val="26880176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marL="0" indent="0" algn="l" defTabSz="1219170" rtl="0" eaLnBrk="1" latinLnBrk="0" hangingPunct="1">
        <a:lnSpc>
          <a:spcPct val="90000"/>
        </a:lnSpc>
        <a:spcBef>
          <a:spcPct val="0"/>
        </a:spcBef>
        <a:buNone/>
        <a:defRPr sz="2667" kern="1200" spc="-27" baseline="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90000"/>
        </a:lnSpc>
        <a:spcBef>
          <a:spcPts val="800"/>
        </a:spcBef>
        <a:buClr>
          <a:schemeClr val="bg1"/>
        </a:buClr>
        <a:buSzPct val="25000"/>
        <a:buFont typeface="Calibri" panose="020F0502020204030204" pitchFamily="34" charset="0"/>
        <a:buNone/>
        <a:tabLst/>
        <a:defRPr sz="1867" kern="1200" spc="-27" baseline="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marL="0" indent="0" algn="l" defTabSz="1219170" rtl="0" eaLnBrk="1" latinLnBrk="0" hangingPunct="1">
        <a:lnSpc>
          <a:spcPct val="90000"/>
        </a:lnSpc>
        <a:spcBef>
          <a:spcPts val="800"/>
        </a:spcBef>
        <a:buClr>
          <a:schemeClr val="bg1"/>
        </a:buClr>
        <a:buSzPct val="25000"/>
        <a:buFont typeface="Calibri" panose="020F0502020204030204" pitchFamily="34" charset="0"/>
        <a:buNone/>
        <a:defRPr sz="1867" kern="1200" spc="-27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241294" indent="-241294" algn="l" defTabSz="1219170" rtl="0" eaLnBrk="1" latinLnBrk="0" hangingPunct="1">
        <a:lnSpc>
          <a:spcPct val="90000"/>
        </a:lnSpc>
        <a:spcBef>
          <a:spcPts val="800"/>
        </a:spcBef>
        <a:buClr>
          <a:schemeClr val="bg2"/>
        </a:buClr>
        <a:buFont typeface="Wingdings" panose="05000000000000000000" pitchFamily="2" charset="2"/>
        <a:buChar char="§"/>
        <a:defRPr sz="1867" kern="1200" spc="-27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543970" indent="-253994" algn="l" defTabSz="1219170" rtl="0" eaLnBrk="1" latinLnBrk="0" hangingPunct="1">
        <a:lnSpc>
          <a:spcPct val="90000"/>
        </a:lnSpc>
        <a:spcBef>
          <a:spcPct val="20000"/>
        </a:spcBef>
        <a:buFont typeface="Arial" panose="020B0604020202020204" pitchFamily="34" charset="0"/>
        <a:buChar char="–"/>
        <a:defRPr sz="1867" kern="1200" spc="-27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793731" indent="-230712" algn="l" defTabSz="1219170" rtl="0" eaLnBrk="1" latinLnBrk="0" hangingPunct="1">
        <a:lnSpc>
          <a:spcPct val="90000"/>
        </a:lnSpc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867" kern="1200" spc="-27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1066773" indent="-253994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67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7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.jpeg"/><Relationship Id="rId5" Type="http://schemas.openxmlformats.org/officeDocument/2006/relationships/image" Target="../media/image7.jpeg"/><Relationship Id="rId4" Type="http://schemas.openxmlformats.org/officeDocument/2006/relationships/image" Target="../media/image10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41.tmp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tmp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2.png"/><Relationship Id="rId4" Type="http://schemas.openxmlformats.org/officeDocument/2006/relationships/image" Target="../media/image46.tmp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tmp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8.tmp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tmp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6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2.svg"/><Relationship Id="rId4" Type="http://schemas.openxmlformats.org/officeDocument/2006/relationships/image" Target="../media/image51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svg"/><Relationship Id="rId13" Type="http://schemas.openxmlformats.org/officeDocument/2006/relationships/image" Target="../media/image63.png"/><Relationship Id="rId3" Type="http://schemas.openxmlformats.org/officeDocument/2006/relationships/image" Target="../media/image53.png"/><Relationship Id="rId7" Type="http://schemas.openxmlformats.org/officeDocument/2006/relationships/image" Target="../media/image57.png"/><Relationship Id="rId12" Type="http://schemas.openxmlformats.org/officeDocument/2006/relationships/image" Target="../media/image62.tiff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66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6.svg"/><Relationship Id="rId11" Type="http://schemas.openxmlformats.org/officeDocument/2006/relationships/image" Target="../media/image61.png"/><Relationship Id="rId5" Type="http://schemas.openxmlformats.org/officeDocument/2006/relationships/image" Target="../media/image55.png"/><Relationship Id="rId15" Type="http://schemas.openxmlformats.org/officeDocument/2006/relationships/image" Target="../media/image65.png"/><Relationship Id="rId10" Type="http://schemas.openxmlformats.org/officeDocument/2006/relationships/image" Target="../media/image60.svg"/><Relationship Id="rId4" Type="http://schemas.openxmlformats.org/officeDocument/2006/relationships/image" Target="../media/image54.svg"/><Relationship Id="rId9" Type="http://schemas.openxmlformats.org/officeDocument/2006/relationships/image" Target="../media/image59.png"/><Relationship Id="rId14" Type="http://schemas.openxmlformats.org/officeDocument/2006/relationships/image" Target="../media/image64.sv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svg"/><Relationship Id="rId3" Type="http://schemas.openxmlformats.org/officeDocument/2006/relationships/image" Target="../media/image67.png"/><Relationship Id="rId7" Type="http://schemas.openxmlformats.org/officeDocument/2006/relationships/image" Target="../media/image6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0.svg"/><Relationship Id="rId5" Type="http://schemas.openxmlformats.org/officeDocument/2006/relationships/image" Target="../media/image69.png"/><Relationship Id="rId10" Type="http://schemas.openxmlformats.org/officeDocument/2006/relationships/image" Target="../media/image66.svg"/><Relationship Id="rId4" Type="http://schemas.openxmlformats.org/officeDocument/2006/relationships/image" Target="../media/image68.png"/><Relationship Id="rId9" Type="http://schemas.openxmlformats.org/officeDocument/2006/relationships/image" Target="../media/image6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6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svg"/><Relationship Id="rId13" Type="http://schemas.openxmlformats.org/officeDocument/2006/relationships/image" Target="../media/image75.png"/><Relationship Id="rId18" Type="http://schemas.openxmlformats.org/officeDocument/2006/relationships/image" Target="../media/image80.svg"/><Relationship Id="rId3" Type="http://schemas.openxmlformats.org/officeDocument/2006/relationships/image" Target="../media/image57.png"/><Relationship Id="rId21" Type="http://schemas.openxmlformats.org/officeDocument/2006/relationships/image" Target="../media/image83.svg"/><Relationship Id="rId7" Type="http://schemas.openxmlformats.org/officeDocument/2006/relationships/image" Target="../media/image55.png"/><Relationship Id="rId12" Type="http://schemas.openxmlformats.org/officeDocument/2006/relationships/image" Target="../media/image60.svg"/><Relationship Id="rId17" Type="http://schemas.openxmlformats.org/officeDocument/2006/relationships/image" Target="../media/image79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78.svg"/><Relationship Id="rId20" Type="http://schemas.openxmlformats.org/officeDocument/2006/relationships/image" Target="../media/image8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2.svg"/><Relationship Id="rId11" Type="http://schemas.openxmlformats.org/officeDocument/2006/relationships/image" Target="../media/image59.png"/><Relationship Id="rId24" Type="http://schemas.openxmlformats.org/officeDocument/2006/relationships/image" Target="../media/image86.jpeg"/><Relationship Id="rId5" Type="http://schemas.openxmlformats.org/officeDocument/2006/relationships/image" Target="../media/image71.png"/><Relationship Id="rId15" Type="http://schemas.openxmlformats.org/officeDocument/2006/relationships/image" Target="../media/image77.png"/><Relationship Id="rId23" Type="http://schemas.openxmlformats.org/officeDocument/2006/relationships/image" Target="../media/image85.svg"/><Relationship Id="rId10" Type="http://schemas.openxmlformats.org/officeDocument/2006/relationships/image" Target="../media/image74.svg"/><Relationship Id="rId19" Type="http://schemas.openxmlformats.org/officeDocument/2006/relationships/image" Target="../media/image81.png"/><Relationship Id="rId4" Type="http://schemas.openxmlformats.org/officeDocument/2006/relationships/image" Target="../media/image58.svg"/><Relationship Id="rId9" Type="http://schemas.openxmlformats.org/officeDocument/2006/relationships/image" Target="../media/image73.png"/><Relationship Id="rId14" Type="http://schemas.openxmlformats.org/officeDocument/2006/relationships/image" Target="../media/image76.svg"/><Relationship Id="rId22" Type="http://schemas.openxmlformats.org/officeDocument/2006/relationships/image" Target="../media/image84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7" Type="http://schemas.openxmlformats.org/officeDocument/2006/relationships/image" Target="../media/image8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5.svg"/><Relationship Id="rId5" Type="http://schemas.openxmlformats.org/officeDocument/2006/relationships/image" Target="../media/image84.png"/><Relationship Id="rId4" Type="http://schemas.openxmlformats.org/officeDocument/2006/relationships/image" Target="../media/image83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tmp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emf"/><Relationship Id="rId7" Type="http://schemas.openxmlformats.org/officeDocument/2006/relationships/image" Target="../media/image19.emf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.png"/><Relationship Id="rId5" Type="http://schemas.openxmlformats.org/officeDocument/2006/relationships/image" Target="../media/image17.emf"/><Relationship Id="rId4" Type="http://schemas.openxmlformats.org/officeDocument/2006/relationships/image" Target="../media/image16.emf"/><Relationship Id="rId9" Type="http://schemas.openxmlformats.org/officeDocument/2006/relationships/image" Target="../media/image21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8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12" Type="http://schemas.openxmlformats.org/officeDocument/2006/relationships/image" Target="../media/image40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svg"/><Relationship Id="rId11" Type="http://schemas.openxmlformats.org/officeDocument/2006/relationships/image" Target="../media/image39.png"/><Relationship Id="rId5" Type="http://schemas.openxmlformats.org/officeDocument/2006/relationships/image" Target="../media/image33.png"/><Relationship Id="rId10" Type="http://schemas.openxmlformats.org/officeDocument/2006/relationships/image" Target="../media/image38.svg"/><Relationship Id="rId4" Type="http://schemas.openxmlformats.org/officeDocument/2006/relationships/image" Target="../media/image32.svg"/><Relationship Id="rId9" Type="http://schemas.openxmlformats.org/officeDocument/2006/relationships/image" Target="../media/image37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12" descr="Background pattern&#10;&#10;Description automatically generated">
            <a:extLst>
              <a:ext uri="{FF2B5EF4-FFF2-40B4-BE49-F238E27FC236}">
                <a16:creationId xmlns:a16="http://schemas.microsoft.com/office/drawing/2014/main" id="{4F79D93D-2CF1-3445-A7CB-2560FF37CF3B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3"/>
          <a:srcRect l="11641" r="23063"/>
          <a:stretch/>
        </p:blipFill>
        <p:spPr>
          <a:xfrm>
            <a:off x="6792803" y="2650075"/>
            <a:ext cx="3776400" cy="3254400"/>
          </a:xfrm>
        </p:spPr>
      </p:pic>
      <p:pic>
        <p:nvPicPr>
          <p:cNvPr id="23" name="Picture Placeholder 22" descr="A person wearing glasses&#10;&#10;Description automatically generated with medium confidence">
            <a:extLst>
              <a:ext uri="{FF2B5EF4-FFF2-40B4-BE49-F238E27FC236}">
                <a16:creationId xmlns:a16="http://schemas.microsoft.com/office/drawing/2014/main" id="{078B3568-5D4D-614A-84AA-05CA2E2945A4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4"/>
          <a:srcRect l="-25" t="5486" r="25"/>
          <a:stretch/>
        </p:blipFill>
        <p:spPr>
          <a:xfrm>
            <a:off x="9895924" y="942666"/>
            <a:ext cx="2295491" cy="3254398"/>
          </a:xfrm>
        </p:spPr>
      </p:pic>
      <p:pic>
        <p:nvPicPr>
          <p:cNvPr id="19" name="Picture Placeholder 18" descr="Earth from outer space&#10;&#10;Description automatically generated with medium confidence">
            <a:extLst>
              <a:ext uri="{FF2B5EF4-FFF2-40B4-BE49-F238E27FC236}">
                <a16:creationId xmlns:a16="http://schemas.microsoft.com/office/drawing/2014/main" id="{FE2209DC-5F2E-4542-A866-42719D8FCF2E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5"/>
          <a:srcRect l="7693" t="112" r="7693" b="-112"/>
          <a:stretch/>
        </p:blipFill>
        <p:spPr>
          <a:xfrm>
            <a:off x="3689682" y="4348583"/>
            <a:ext cx="3776400" cy="2511448"/>
          </a:xfrm>
        </p:spPr>
      </p:pic>
      <p:pic>
        <p:nvPicPr>
          <p:cNvPr id="21" name="Picture Placeholder 20" descr="Background pattern&#10;&#10;Description automatically generated">
            <a:extLst>
              <a:ext uri="{FF2B5EF4-FFF2-40B4-BE49-F238E27FC236}">
                <a16:creationId xmlns:a16="http://schemas.microsoft.com/office/drawing/2014/main" id="{F85180A5-8250-194B-9015-5677A8194041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 rotWithShape="1">
          <a:blip r:embed="rId6"/>
          <a:srcRect l="17337" r="31233"/>
          <a:stretch/>
        </p:blipFill>
        <p:spPr>
          <a:xfrm>
            <a:off x="9895923" y="4348582"/>
            <a:ext cx="2295491" cy="2511397"/>
          </a:xfr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CCE93626-6E4C-DB42-A87E-4C7742B5A9D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sz="4000"/>
              <a:t>Special-Purpose </a:t>
            </a:r>
            <a:r>
              <a:rPr lang="en-US" sz="4000" dirty="0"/>
              <a:t>Functionalities: Intermediate Solutions</a:t>
            </a:r>
            <a:br>
              <a:rPr lang="en-US" dirty="0"/>
            </a:br>
            <a:endParaRPr lang="en-US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6AE550FA-C9EA-6042-8AD3-0E59B6EA330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Hexa-X: WP7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ACF1BF1-E518-0E44-BCCB-775773554653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838200" y="4885434"/>
            <a:ext cx="4394981" cy="1019041"/>
          </a:xfrm>
        </p:spPr>
        <p:txBody>
          <a:bodyPr/>
          <a:lstStyle/>
          <a:p>
            <a:r>
              <a:rPr lang="en-US" dirty="0"/>
              <a:t>Hexa-X</a:t>
            </a:r>
          </a:p>
          <a:p>
            <a:r>
              <a:rPr lang="en-US" dirty="0"/>
              <a:t>hexa-x.eu</a:t>
            </a:r>
          </a:p>
        </p:txBody>
      </p:sp>
      <p:pic>
        <p:nvPicPr>
          <p:cNvPr id="15" name="Picture Placeholder 14" descr="A picture containing swimming&#10;&#10;Description automatically generated">
            <a:extLst>
              <a:ext uri="{FF2B5EF4-FFF2-40B4-BE49-F238E27FC236}">
                <a16:creationId xmlns:a16="http://schemas.microsoft.com/office/drawing/2014/main" id="{ABE6B8AF-C497-994D-9602-09B8B3A30C91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7"/>
          <a:srcRect l="14956"/>
          <a:stretch/>
        </p:blipFill>
        <p:spPr>
          <a:xfrm>
            <a:off x="6792803" y="793"/>
            <a:ext cx="3776400" cy="2497764"/>
          </a:xfrm>
        </p:spPr>
      </p:pic>
    </p:spTree>
    <p:extLst>
      <p:ext uri="{BB962C8B-B14F-4D97-AF65-F5344CB8AC3E}">
        <p14:creationId xmlns:p14="http://schemas.microsoft.com/office/powerpoint/2010/main" val="37777635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C82A1384-317E-4864-BF58-B45A37A6D1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laborating robots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F57E4E5-A9B5-483F-AEF0-D6E4C5BC27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unctional aspects of the use case mapped to </a:t>
            </a:r>
            <a:br>
              <a:rPr lang="en-US" dirty="0"/>
            </a:br>
            <a:r>
              <a:rPr lang="en-US" dirty="0"/>
              <a:t>dependability attributes of different services</a:t>
            </a:r>
          </a:p>
          <a:p>
            <a:r>
              <a:rPr lang="en-US" dirty="0"/>
              <a:t>Discussion of application productivity as</a:t>
            </a:r>
            <a:br>
              <a:rPr lang="en-US" dirty="0"/>
            </a:br>
            <a:r>
              <a:rPr lang="en-US" dirty="0"/>
              <a:t>consequence of utilized services and resilience</a:t>
            </a:r>
          </a:p>
          <a:p>
            <a:pPr lvl="1"/>
            <a:r>
              <a:rPr lang="en-US" dirty="0"/>
              <a:t>Communication, computation, positioning</a:t>
            </a:r>
          </a:p>
          <a:p>
            <a:r>
              <a:rPr lang="en-US" dirty="0"/>
              <a:t>Targeted ranges for functional aspects of the </a:t>
            </a:r>
            <a:br>
              <a:rPr lang="en-US" dirty="0"/>
            </a:br>
            <a:r>
              <a:rPr lang="en-US" dirty="0"/>
              <a:t>collaborative robots use case 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904C760-3D9A-4580-888C-E489EAA76C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27096" y="1089846"/>
            <a:ext cx="4678307" cy="2339154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486314A7-71BB-46AC-9B0D-8C298A813E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34345" y="89843"/>
            <a:ext cx="898186" cy="867215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7C2E2CED-59DA-46C9-A180-F249BF2A8D3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74475" y="3859128"/>
            <a:ext cx="4707362" cy="2038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6489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C82A1384-317E-4864-BF58-B45A37A6D1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Digital twins for </a:t>
            </a:r>
            <a:br>
              <a:rPr lang="en-US" dirty="0"/>
            </a:br>
            <a:r>
              <a:rPr lang="en-US" dirty="0"/>
              <a:t>manufacturing</a:t>
            </a:r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C3485EE2-8F7B-46BD-986F-AB66671C07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515" y="1074822"/>
            <a:ext cx="6776935" cy="5376210"/>
          </a:xfrm>
        </p:spPr>
        <p:txBody>
          <a:bodyPr>
            <a:normAutofit fontScale="92500"/>
          </a:bodyPr>
          <a:lstStyle/>
          <a:p>
            <a:r>
              <a:rPr lang="en-US" dirty="0"/>
              <a:t>DT KPIs heavily depend on the respective service</a:t>
            </a:r>
          </a:p>
          <a:p>
            <a:endParaRPr lang="en-US" dirty="0"/>
          </a:p>
          <a:p>
            <a:r>
              <a:rPr lang="en-US" b="1" dirty="0"/>
              <a:t>Trustworthiness</a:t>
            </a:r>
          </a:p>
          <a:p>
            <a:pPr lvl="1"/>
            <a:r>
              <a:rPr lang="en-US" dirty="0"/>
              <a:t>Privacy: cannot violate human privacy for example location of individuals without consent, storing identifiable data is not allowed, careful with ML/AI</a:t>
            </a:r>
          </a:p>
          <a:p>
            <a:pPr lvl="1"/>
            <a:r>
              <a:rPr lang="en-US" dirty="0"/>
              <a:t>Ethical frameworks: when human workers are involved, worker rights need to be followed also from ethical standpoint, including diversity</a:t>
            </a:r>
          </a:p>
          <a:p>
            <a:pPr lvl="1"/>
            <a:endParaRPr lang="en-US" dirty="0"/>
          </a:p>
          <a:p>
            <a:r>
              <a:rPr lang="en-US" b="1" dirty="0"/>
              <a:t>Flexibility</a:t>
            </a:r>
            <a:endParaRPr lang="en-US" dirty="0"/>
          </a:p>
          <a:p>
            <a:pPr lvl="1"/>
            <a:r>
              <a:rPr lang="en-US" dirty="0"/>
              <a:t>Scalability</a:t>
            </a:r>
          </a:p>
          <a:p>
            <a:pPr lvl="1"/>
            <a:r>
              <a:rPr lang="en-US" dirty="0"/>
              <a:t>Transferability: common framework and creation principles</a:t>
            </a:r>
          </a:p>
          <a:p>
            <a:pPr lvl="1"/>
            <a:r>
              <a:rPr lang="en-US" dirty="0"/>
              <a:t>Composition: possibility to create compound digital twins of larger entities</a:t>
            </a:r>
          </a:p>
          <a:p>
            <a:endParaRPr lang="en-US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5CC3E8A-8931-4312-B1AD-A28EC62CB9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43863" y="89843"/>
            <a:ext cx="894745" cy="867215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DB93FFC8-82A7-42C1-A1D8-84160CB591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21682" y="1324315"/>
            <a:ext cx="4572396" cy="4877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43447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C82A1384-317E-4864-BF58-B45A37A6D1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elepresence</a:t>
            </a:r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C3485EE2-8F7B-46BD-986F-AB66671C07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515" y="1074822"/>
            <a:ext cx="7310335" cy="5376210"/>
          </a:xfrm>
        </p:spPr>
        <p:txBody>
          <a:bodyPr>
            <a:normAutofit/>
          </a:bodyPr>
          <a:lstStyle/>
          <a:p>
            <a:r>
              <a:rPr lang="en-US" dirty="0"/>
              <a:t>Requirements for telepresence robotics (Tactile Internet) and telepresence videoconferencing (holographic telepresence)</a:t>
            </a:r>
          </a:p>
          <a:p>
            <a:r>
              <a:rPr lang="en-US" dirty="0"/>
              <a:t>Vividness: richness of environment (dep. on representation to human senses)</a:t>
            </a:r>
          </a:p>
          <a:p>
            <a:r>
              <a:rPr lang="en-US" dirty="0"/>
              <a:t>Interactivity: extent to which humans contribute to changing an environment in real-time</a:t>
            </a:r>
          </a:p>
          <a:p>
            <a:pPr lvl="1"/>
            <a:r>
              <a:rPr lang="en-US" dirty="0"/>
              <a:t>Dependability (compute, communicate)</a:t>
            </a:r>
          </a:p>
          <a:p>
            <a:pPr lvl="1"/>
            <a:r>
              <a:rPr lang="en-US" dirty="0"/>
              <a:t>Performance (compute, communicate)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6524A2D-1779-4330-9D6F-2BFCCFE298D8}"/>
              </a:ext>
            </a:extLst>
          </p:cNvPr>
          <p:cNvPicPr/>
          <p:nvPr/>
        </p:nvPicPr>
        <p:blipFill>
          <a:blip r:embed="rId2">
            <a:extLst>
              <a:ext uri="{FF2B5EF4-FFF2-40B4-BE49-F238E27FC236}">
                <a16:creationId xmlns:wp="http://schemas.openxmlformats.org/drawingml/2006/wordprocessingDrawing" xmlns:wp14="http://schemas.microsoft.com/office/word/2010/wordprocessingDrawing" xmlns:pic="http://schemas.openxmlformats.org/drawingml/2006/picture" xmlns:mc="http://schemas.openxmlformats.org/markup-compatibility/2006" xmlns="" xmlns:o="urn:schemas-microsoft-com:office:office" xmlns:v="urn:schemas-microsoft-com:vml" xmlns:w10="urn:schemas-microsoft-com:office:word" xmlns:w="http://schemas.openxmlformats.org/wordprocessingml/2006/main" xmlns:a14="http://schemas.microsoft.com/office/drawing/2010/main" xmlns:asvg="http://schemas.microsoft.com/office/drawing/2016/SVG/main" xmlns:a16="http://schemas.microsoft.com/office/drawing/2014/main" xmlns:arto="http://schemas.microsoft.com/office/word/2006/arto" xmlns:wps="http://schemas.microsoft.com/office/word/2010/wordprocessingShape" xmlns:wne="http://schemas.microsoft.com/office/word/2006/wordml" xmlns:wpi="http://schemas.microsoft.com/office/word/2010/wordprocessingInk" xmlns:wpg="http://schemas.microsoft.com/office/word/2010/wordprocessingGroup" xmlns:w16se="http://schemas.microsoft.com/office/word/2015/wordml/symex" xmlns:w16="http://schemas.microsoft.com/office/word/2018/wordml" xmlns:w16cid="http://schemas.microsoft.com/office/word/2016/wordml/cid" xmlns:w16cex="http://schemas.microsoft.com/office/word/2018/wordml/cex" xmlns:w15="http://schemas.microsoft.com/office/word/2012/wordml" xmlns:w14="http://schemas.microsoft.com/office/word/2010/wordml" xmlns:m="http://schemas.openxmlformats.org/officeDocument/2006/math" xmlns:am3d="http://schemas.microsoft.com/office/drawing/2017/model3d" xmlns:aink="http://schemas.microsoft.com/office/drawing/2016/ink" xmlns:cx8="http://schemas.microsoft.com/office/drawing/2016/5/14/chartex" xmlns:cx7="http://schemas.microsoft.com/office/drawing/2016/5/13/chartex" xmlns:cx6="http://schemas.microsoft.com/office/drawing/2016/5/12/chartex" xmlns:cx5="http://schemas.microsoft.com/office/drawing/2016/5/11/chartex" xmlns:cx4="http://schemas.microsoft.com/office/drawing/2016/5/10/chartex" xmlns:cx3="http://schemas.microsoft.com/office/drawing/2016/5/9/chartex" xmlns:cx2="http://schemas.microsoft.com/office/drawing/2015/10/21/chartex" xmlns:cx1="http://schemas.microsoft.com/office/drawing/2015/9/8/chartex" xmlns:cx="http://schemas.microsoft.com/office/drawing/2014/chartex" xmlns:wpc="http://schemas.microsoft.com/office/word/2010/wordprocessingCanvas" xmlns:lc="http://schemas.openxmlformats.org/drawingml/2006/lockedCanvas" id="{6D7200FA-43C6-497E-A39A-83D90FAC8CFC}"/>
              </a:ext>
            </a:extLst>
          </a:blip>
          <a:stretch>
            <a:fillRect/>
          </a:stretch>
        </p:blipFill>
        <p:spPr>
          <a:xfrm>
            <a:off x="7778965" y="2359138"/>
            <a:ext cx="4033520" cy="1840230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FE725358-5F81-44F5-B27A-C76330018D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6723" y="4717907"/>
            <a:ext cx="5199375" cy="1733125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7F418EC4-5624-4A6A-9C29-A6C4ABB1F9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08087" y="5238437"/>
            <a:ext cx="5110648" cy="1212595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6D6E78BB-362B-4287-8E98-C20ED5AFEF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47496" y="88919"/>
            <a:ext cx="898186" cy="870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16914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C82A1384-317E-4864-BF58-B45A37A6D1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Earth monitor</a:t>
            </a:r>
            <a:br>
              <a:rPr lang="en-US" dirty="0"/>
            </a:br>
            <a:r>
              <a:rPr lang="en-US" dirty="0" err="1"/>
              <a:t>Autonom</a:t>
            </a:r>
            <a:r>
              <a:rPr lang="en-US" dirty="0"/>
              <a:t>. supply chains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848341F-B845-43B9-9C2D-EA58C44B6D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48706" y="89843"/>
            <a:ext cx="898186" cy="867215"/>
          </a:xfrm>
          <a:prstGeom prst="rect">
            <a:avLst/>
          </a:prstGeom>
        </p:spPr>
      </p:pic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452A6972-D55A-40E4-B42F-44D342EDD1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b="1" dirty="0"/>
              <a:t>Value and cost of generated insights</a:t>
            </a:r>
          </a:p>
          <a:p>
            <a:pPr lvl="1"/>
            <a:r>
              <a:rPr lang="en-US" dirty="0"/>
              <a:t>associated attributes (KPIs)</a:t>
            </a:r>
          </a:p>
          <a:p>
            <a:pPr lvl="1"/>
            <a:r>
              <a:rPr lang="en-US" dirty="0"/>
              <a:t>Focus on energy autonomy of tags</a:t>
            </a:r>
            <a:br>
              <a:rPr lang="en-US" dirty="0"/>
            </a:br>
            <a:r>
              <a:rPr lang="en-US" dirty="0"/>
              <a:t>combined with exist. infrastructure</a:t>
            </a:r>
          </a:p>
          <a:p>
            <a:r>
              <a:rPr lang="en-US" b="1" dirty="0"/>
              <a:t>Flexibility</a:t>
            </a:r>
            <a:r>
              <a:rPr lang="en-US" dirty="0"/>
              <a:t> (both use cases)</a:t>
            </a:r>
          </a:p>
          <a:p>
            <a:pPr lvl="1"/>
            <a:r>
              <a:rPr lang="en-US" dirty="0"/>
              <a:t>Recycling</a:t>
            </a:r>
          </a:p>
          <a:p>
            <a:pPr lvl="1"/>
            <a:r>
              <a:rPr lang="en-US" dirty="0"/>
              <a:t>% of dedicated infrastructure for task</a:t>
            </a:r>
            <a:br>
              <a:rPr lang="en-US" dirty="0"/>
            </a:br>
            <a:r>
              <a:rPr lang="en-US" dirty="0"/>
              <a:t>(also related to cost of gen. insights)</a:t>
            </a:r>
          </a:p>
        </p:txBody>
      </p:sp>
      <p:pic>
        <p:nvPicPr>
          <p:cNvPr id="9" name="Inhaltsplatzhalter 2">
            <a:extLst>
              <a:ext uri="{FF2B5EF4-FFF2-40B4-BE49-F238E27FC236}">
                <a16:creationId xmlns:a16="http://schemas.microsoft.com/office/drawing/2014/main" id="{40DF828E-FD70-454D-8D37-097C65F765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6589" y="478528"/>
            <a:ext cx="4162556" cy="3035097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8A775014-5434-4D34-9E92-A1B8B2A69DD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22664" y="3596579"/>
            <a:ext cx="4204121" cy="2972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59525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C82A1384-317E-4864-BF58-B45A37A6D1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Immersive smart </a:t>
            </a:r>
            <a:br>
              <a:rPr lang="en-US" dirty="0"/>
            </a:br>
            <a:r>
              <a:rPr lang="en-US" dirty="0"/>
              <a:t>cities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F57E4E5-A9B5-483F-AEF0-D6E4C5BC27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Focus on high-level requirements for service</a:t>
            </a:r>
            <a:br>
              <a:rPr lang="en-US" dirty="0"/>
            </a:br>
            <a:r>
              <a:rPr lang="en-US" dirty="0"/>
              <a:t>due to very broad scope of scenarios</a:t>
            </a:r>
          </a:p>
          <a:p>
            <a:r>
              <a:rPr lang="en-US" dirty="0"/>
              <a:t>Derived DT requirements </a:t>
            </a:r>
            <a:r>
              <a:rPr lang="en-US" dirty="0">
                <a:sym typeface="Wingdings" panose="05000000000000000000" pitchFamily="2" charset="2"/>
              </a:rPr>
              <a:t> DT use case</a:t>
            </a: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Focus on functional requirements to tackle</a:t>
            </a:r>
            <a:br>
              <a:rPr lang="en-US" dirty="0"/>
            </a:br>
            <a:r>
              <a:rPr lang="en-US" dirty="0"/>
              <a:t>immersive smart cities requirements</a:t>
            </a:r>
          </a:p>
          <a:p>
            <a:pPr lvl="1"/>
            <a:r>
              <a:rPr lang="en-US" dirty="0"/>
              <a:t>Architecture: relaying, high frequency bands</a:t>
            </a:r>
          </a:p>
          <a:p>
            <a:endParaRPr lang="en-US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8628A5A2-3C23-4E68-915B-F67C35A39D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50776" y="89843"/>
            <a:ext cx="894745" cy="867215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7B997FB0-62E4-40C0-9EFF-8AA0C8BFF7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69595" y="1197496"/>
            <a:ext cx="4662175" cy="1946605"/>
          </a:xfrm>
          <a:prstGeom prst="rect">
            <a:avLst/>
          </a:prstGeom>
        </p:spPr>
      </p:pic>
      <p:sp>
        <p:nvSpPr>
          <p:cNvPr id="8" name="Titel 3">
            <a:extLst>
              <a:ext uri="{FF2B5EF4-FFF2-40B4-BE49-F238E27FC236}">
                <a16:creationId xmlns:a16="http://schemas.microsoft.com/office/drawing/2014/main" id="{268D259D-D261-439F-8F35-9861DAB440B7}"/>
              </a:ext>
            </a:extLst>
          </p:cNvPr>
          <p:cNvSpPr txBox="1">
            <a:spLocks/>
          </p:cNvSpPr>
          <p:nvPr/>
        </p:nvSpPr>
        <p:spPr>
          <a:xfrm>
            <a:off x="379515" y="3448212"/>
            <a:ext cx="10247270" cy="957059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Trebuchet MS" panose="020B0703020202090204" pitchFamily="34" charset="0"/>
                <a:ea typeface="+mj-ea"/>
                <a:cs typeface="+mj-cs"/>
              </a:defRPr>
            </a:lvl1pPr>
          </a:lstStyle>
          <a:p>
            <a:r>
              <a:rPr lang="en-US" sz="2800" dirty="0"/>
              <a:t>6G IoT micro-networks</a:t>
            </a:r>
            <a:br>
              <a:rPr lang="en-US" sz="2800" dirty="0"/>
            </a:br>
            <a:r>
              <a:rPr lang="en-US" sz="2800" dirty="0"/>
              <a:t>for smart cities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E8DE866-1719-4F30-9939-CD813082B69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97436" y="3491412"/>
            <a:ext cx="898186" cy="870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77273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2BAF6A41-6E9C-4F8E-A6AD-709BB22D68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mediate solutions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E0F5CA8-90B5-4B74-B588-224BFA7747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view of technical contributions by T7.2, T7.3, T7.4</a:t>
            </a:r>
          </a:p>
        </p:txBody>
      </p:sp>
    </p:spTree>
    <p:extLst>
      <p:ext uri="{BB962C8B-B14F-4D97-AF65-F5344CB8AC3E}">
        <p14:creationId xmlns:p14="http://schemas.microsoft.com/office/powerpoint/2010/main" val="8885926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7CEBBDBE-1544-4B01-8E9E-8D68A25102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Overview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7F2235F3-288E-44C7-BCB1-0DAC07F423F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8023" y="1354154"/>
            <a:ext cx="3547398" cy="4976308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b="1" dirty="0">
                <a:solidFill>
                  <a:schemeClr val="accent1"/>
                </a:solidFill>
              </a:rPr>
              <a:t>T7.2:</a:t>
            </a:r>
            <a:r>
              <a:rPr lang="en-US" dirty="0">
                <a:solidFill>
                  <a:schemeClr val="accent1"/>
                </a:solidFill>
              </a:rPr>
              <a:t> Ultra-flexible resource allocation in challenging environments</a:t>
            </a:r>
          </a:p>
          <a:p>
            <a:r>
              <a:rPr lang="en-US" sz="1900" dirty="0"/>
              <a:t>Joint resource allocation across frequencies</a:t>
            </a:r>
          </a:p>
          <a:p>
            <a:r>
              <a:rPr lang="en-US" sz="1900" dirty="0"/>
              <a:t>Federated AI/ML-based allocation utilizing communication patterns </a:t>
            </a:r>
          </a:p>
          <a:p>
            <a:r>
              <a:rPr lang="en-US" sz="1900" dirty="0"/>
              <a:t>Intent-based utilization of D2D and D2I links</a:t>
            </a:r>
          </a:p>
          <a:p>
            <a:r>
              <a:rPr lang="en-US" sz="1900" dirty="0"/>
              <a:t>Interference management (prediction and modeling)</a:t>
            </a:r>
          </a:p>
          <a:p>
            <a:r>
              <a:rPr lang="en-US" sz="1900" dirty="0"/>
              <a:t>Flexible (re-) distribution of application functionality on execution platforms (T7.4)</a:t>
            </a:r>
          </a:p>
          <a:p>
            <a:r>
              <a:rPr lang="en-US" sz="1900" dirty="0"/>
              <a:t>Trade-off between energy consumption and performance in I4.0 scenarios</a:t>
            </a:r>
            <a:endParaRPr lang="en-US" dirty="0"/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5BFA0DC2-ADED-4C8C-B90F-F37B08CD5F1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332814" y="1354154"/>
            <a:ext cx="3547398" cy="497630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b="1" dirty="0">
                <a:solidFill>
                  <a:schemeClr val="accent1"/>
                </a:solidFill>
              </a:rPr>
              <a:t>T7.3:</a:t>
            </a:r>
            <a:r>
              <a:rPr lang="en-US" dirty="0">
                <a:solidFill>
                  <a:schemeClr val="accent1"/>
                </a:solidFill>
              </a:rPr>
              <a:t> (E2E) dependability in I4.0 environments</a:t>
            </a:r>
          </a:p>
          <a:p>
            <a:r>
              <a:rPr lang="en-US" sz="1800" dirty="0"/>
              <a:t>Extend the communication-control-co-design paradigm</a:t>
            </a:r>
          </a:p>
          <a:p>
            <a:r>
              <a:rPr lang="en-US" sz="1800" dirty="0"/>
              <a:t>Mathematical framework for dependability analysis in multi-connectivity setup</a:t>
            </a:r>
          </a:p>
          <a:p>
            <a:r>
              <a:rPr lang="en-US" sz="1800" dirty="0"/>
              <a:t>System architecture design including resource allocation aspects (T7.2) and deployment options (T7.4)</a:t>
            </a:r>
          </a:p>
          <a:p>
            <a:r>
              <a:rPr lang="en-US" sz="1800" dirty="0"/>
              <a:t>Monitoring and anomaly detection in I4.0 scenarios</a:t>
            </a:r>
          </a:p>
          <a:p>
            <a:r>
              <a:rPr lang="en-US" sz="1800" dirty="0"/>
              <a:t>Trade-off between network resource utilization and control utility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DD1A7D9D-A728-4ADF-B293-9150DEFDF4F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297605" y="1363454"/>
            <a:ext cx="3514872" cy="497630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b="1" dirty="0">
                <a:solidFill>
                  <a:schemeClr val="accent1"/>
                </a:solidFill>
              </a:rPr>
              <a:t>T7.4: </a:t>
            </a:r>
            <a:r>
              <a:rPr lang="en-US" dirty="0">
                <a:solidFill>
                  <a:schemeClr val="accent1"/>
                </a:solidFill>
              </a:rPr>
              <a:t>Digital Twins and novel HMIs</a:t>
            </a:r>
          </a:p>
          <a:p>
            <a:r>
              <a:rPr lang="en-US" sz="1800" dirty="0"/>
              <a:t>Application execution environment guaranteeing high levels of privacy, user transparency, and availability</a:t>
            </a:r>
          </a:p>
          <a:p>
            <a:r>
              <a:rPr lang="en-US" sz="1800" dirty="0"/>
              <a:t>DTs enabling critical (industrial) applications, e.g., enhanced human-machine/human-CPE interaction</a:t>
            </a:r>
          </a:p>
          <a:p>
            <a:r>
              <a:rPr lang="en-US" sz="1800" dirty="0"/>
              <a:t>Concept of accompanying, collaborating DTs for privacy preserving data analysis and insight generation</a:t>
            </a:r>
          </a:p>
        </p:txBody>
      </p:sp>
    </p:spTree>
    <p:extLst>
      <p:ext uri="{BB962C8B-B14F-4D97-AF65-F5344CB8AC3E}">
        <p14:creationId xmlns:p14="http://schemas.microsoft.com/office/powerpoint/2010/main" val="158640163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EDA2E8E9-22AB-4AD1-9C82-3D348D05D6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b">
            <a:normAutofit/>
          </a:bodyPr>
          <a:lstStyle/>
          <a:p>
            <a:r>
              <a:rPr lang="en-US" dirty="0"/>
              <a:t>Enablers for ultra-flexible resource allocation</a:t>
            </a:r>
            <a:endParaRPr lang="en-US" b="0" dirty="0"/>
          </a:p>
        </p:txBody>
      </p:sp>
      <p:sp>
        <p:nvSpPr>
          <p:cNvPr id="14" name="Textfeld 13" hidden="1">
            <a:extLst>
              <a:ext uri="{FF2B5EF4-FFF2-40B4-BE49-F238E27FC236}">
                <a16:creationId xmlns:a16="http://schemas.microsoft.com/office/drawing/2014/main" id="{0A6F60B2-4076-46BD-9268-E0A3AE606B35}"/>
              </a:ext>
            </a:extLst>
          </p:cNvPr>
          <p:cNvSpPr txBox="1"/>
          <p:nvPr/>
        </p:nvSpPr>
        <p:spPr>
          <a:xfrm>
            <a:off x="0" y="5960333"/>
            <a:ext cx="6267157" cy="674200"/>
          </a:xfrm>
          <a:prstGeom prst="rect">
            <a:avLst/>
          </a:prstGeom>
          <a:solidFill>
            <a:srgbClr val="003D75"/>
          </a:solidFill>
        </p:spPr>
        <p:txBody>
          <a:bodyPr wrap="square" lIns="360000" tIns="72000" rIns="144000" bIns="108000" rtlCol="0" anchor="b" anchorCtr="0">
            <a:spAutoFit/>
          </a:bodyPr>
          <a:lstStyle/>
          <a:p>
            <a:pPr>
              <a:spcAft>
                <a:spcPts val="2000"/>
              </a:spcAft>
            </a:pPr>
            <a:r>
              <a:rPr lang="en-US" sz="1600" b="1">
                <a:solidFill>
                  <a:schemeClr val="accent4"/>
                </a:solidFill>
              </a:rPr>
              <a:t>Related measurable result for project objective 4:</a:t>
            </a:r>
            <a:br>
              <a:rPr lang="en-US" sz="1600" b="1">
                <a:solidFill>
                  <a:schemeClr val="accent4"/>
                </a:solidFill>
              </a:rPr>
            </a:br>
            <a:r>
              <a:rPr lang="en-US" sz="1600"/>
              <a:t>Flexible resource allocation in demanding industrial scenarios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0C9344E1-63E4-4945-AC81-A1AB23FC8B98}"/>
              </a:ext>
            </a:extLst>
          </p:cNvPr>
          <p:cNvSpPr/>
          <p:nvPr/>
        </p:nvSpPr>
        <p:spPr>
          <a:xfrm>
            <a:off x="5737368" y="4112378"/>
            <a:ext cx="3180229" cy="954741"/>
          </a:xfrm>
          <a:prstGeom prst="rect">
            <a:avLst/>
          </a:prstGeom>
          <a:solidFill>
            <a:schemeClr val="bg1"/>
          </a:solidFill>
          <a:ln w="1905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/>
              <a:t>Resource provisioning for Federated Learning in IoT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701C80B4-404C-4CD0-81B7-54BD10874666}"/>
              </a:ext>
            </a:extLst>
          </p:cNvPr>
          <p:cNvSpPr/>
          <p:nvPr/>
        </p:nvSpPr>
        <p:spPr>
          <a:xfrm>
            <a:off x="5907448" y="2973696"/>
            <a:ext cx="3180229" cy="954741"/>
          </a:xfrm>
          <a:prstGeom prst="rect">
            <a:avLst/>
          </a:prstGeom>
          <a:solidFill>
            <a:schemeClr val="bg1"/>
          </a:solidFill>
          <a:ln w="1905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/>
              <a:t>Resource allocation and function (re-)distribution in factories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1787BC5-F034-4448-856F-597E45058590}"/>
              </a:ext>
            </a:extLst>
          </p:cNvPr>
          <p:cNvSpPr/>
          <p:nvPr/>
        </p:nvSpPr>
        <p:spPr>
          <a:xfrm>
            <a:off x="5737368" y="1846288"/>
            <a:ext cx="3382723" cy="954741"/>
          </a:xfrm>
          <a:prstGeom prst="rect">
            <a:avLst/>
          </a:prstGeom>
          <a:solidFill>
            <a:schemeClr val="bg1"/>
          </a:solidFill>
          <a:ln w="1905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/>
              <a:t>Radio-aware trajectory planning in factories, flexible radio mapping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19EAF8C0-2963-4FF9-BC95-B05D30F708B8}"/>
              </a:ext>
            </a:extLst>
          </p:cNvPr>
          <p:cNvSpPr/>
          <p:nvPr/>
        </p:nvSpPr>
        <p:spPr>
          <a:xfrm>
            <a:off x="719984" y="1846288"/>
            <a:ext cx="2655795" cy="954741"/>
          </a:xfrm>
          <a:prstGeom prst="rect">
            <a:avLst/>
          </a:prstGeom>
          <a:solidFill>
            <a:schemeClr val="bg1"/>
          </a:solidFill>
          <a:ln w="1905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600"/>
              <a:t>In-Machine communication (NW-in-NW) in factories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D3FBF44B-1250-4167-864F-4AAEE58F0321}"/>
              </a:ext>
            </a:extLst>
          </p:cNvPr>
          <p:cNvSpPr/>
          <p:nvPr/>
        </p:nvSpPr>
        <p:spPr>
          <a:xfrm>
            <a:off x="500835" y="2979333"/>
            <a:ext cx="2655795" cy="954741"/>
          </a:xfrm>
          <a:prstGeom prst="rect">
            <a:avLst/>
          </a:prstGeom>
          <a:solidFill>
            <a:schemeClr val="bg1"/>
          </a:solidFill>
          <a:ln w="1905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600"/>
              <a:t>Flexible functional split adaptation in factories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96C010EE-84AC-43B1-B4EB-DFBEC1C0ADC3}"/>
              </a:ext>
            </a:extLst>
          </p:cNvPr>
          <p:cNvSpPr/>
          <p:nvPr/>
        </p:nvSpPr>
        <p:spPr>
          <a:xfrm>
            <a:off x="379515" y="4112378"/>
            <a:ext cx="2996264" cy="954741"/>
          </a:xfrm>
          <a:prstGeom prst="rect">
            <a:avLst/>
          </a:prstGeom>
          <a:solidFill>
            <a:schemeClr val="bg1"/>
          </a:solidFill>
          <a:ln w="1905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600"/>
              <a:t>Crowd-detectable zero-energy devices for smart tracking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CB4E93F5-D08D-4826-9844-068350E518F7}"/>
              </a:ext>
            </a:extLst>
          </p:cNvPr>
          <p:cNvSpPr/>
          <p:nvPr/>
        </p:nvSpPr>
        <p:spPr>
          <a:xfrm>
            <a:off x="442747" y="1269000"/>
            <a:ext cx="3408756" cy="4320000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>
                <a:solidFill>
                  <a:schemeClr val="accent1"/>
                </a:solidFill>
              </a:rPr>
              <a:t>Network enablers in focus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7199E3A5-D000-4896-A3EF-6C63C5044C16}"/>
              </a:ext>
            </a:extLst>
          </p:cNvPr>
          <p:cNvSpPr/>
          <p:nvPr/>
        </p:nvSpPr>
        <p:spPr>
          <a:xfrm>
            <a:off x="5261644" y="1269000"/>
            <a:ext cx="3811956" cy="4320000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>
                <a:solidFill>
                  <a:schemeClr val="accent1"/>
                </a:solidFill>
              </a:rPr>
              <a:t>Applications in focus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0F594B0C-4B24-4BD6-946A-35F3E7B4FDC6}"/>
              </a:ext>
            </a:extLst>
          </p:cNvPr>
          <p:cNvSpPr txBox="1"/>
          <p:nvPr/>
        </p:nvSpPr>
        <p:spPr>
          <a:xfrm>
            <a:off x="3318452" y="2317482"/>
            <a:ext cx="131959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accent2"/>
                </a:solidFill>
              </a:rPr>
              <a:t>Dependability </a:t>
            </a:r>
            <a:br>
              <a:rPr lang="en-US" sz="1400" dirty="0">
                <a:solidFill>
                  <a:schemeClr val="accent2"/>
                </a:solidFill>
              </a:rPr>
            </a:br>
            <a:r>
              <a:rPr lang="en-US" sz="1400" dirty="0">
                <a:solidFill>
                  <a:schemeClr val="accent2"/>
                </a:solidFill>
              </a:rPr>
              <a:t>in I4.0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A6BCEDD7-DB08-46E2-A4F5-C10A9D905012}"/>
              </a:ext>
            </a:extLst>
          </p:cNvPr>
          <p:cNvSpPr txBox="1"/>
          <p:nvPr/>
        </p:nvSpPr>
        <p:spPr>
          <a:xfrm>
            <a:off x="4264916" y="4065194"/>
            <a:ext cx="141737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>
                <a:solidFill>
                  <a:schemeClr val="accent3"/>
                </a:solidFill>
              </a:rPr>
              <a:t>Sustainable</a:t>
            </a:r>
            <a:br>
              <a:rPr lang="en-US" sz="1400" dirty="0">
                <a:solidFill>
                  <a:schemeClr val="accent3"/>
                </a:solidFill>
              </a:rPr>
            </a:br>
            <a:r>
              <a:rPr lang="en-US" sz="1400" dirty="0">
                <a:solidFill>
                  <a:schemeClr val="accent3"/>
                </a:solidFill>
              </a:rPr>
              <a:t>coverage in IoT</a:t>
            </a:r>
          </a:p>
        </p:txBody>
      </p: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5DCB8449-898A-4C42-9710-8636210771FA}"/>
              </a:ext>
            </a:extLst>
          </p:cNvPr>
          <p:cNvCxnSpPr>
            <a:cxnSpLocks/>
            <a:stCxn id="26" idx="3"/>
            <a:endCxn id="27" idx="3"/>
          </p:cNvCxnSpPr>
          <p:nvPr/>
        </p:nvCxnSpPr>
        <p:spPr>
          <a:xfrm>
            <a:off x="3156630" y="3456704"/>
            <a:ext cx="219149" cy="1133045"/>
          </a:xfrm>
          <a:prstGeom prst="line">
            <a:avLst/>
          </a:prstGeom>
          <a:ln w="19050">
            <a:solidFill>
              <a:srgbClr val="BA61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DF5810BA-978A-4112-8678-041F3AAEAC76}"/>
              </a:ext>
            </a:extLst>
          </p:cNvPr>
          <p:cNvCxnSpPr>
            <a:cxnSpLocks/>
            <a:stCxn id="18" idx="1"/>
            <a:endCxn id="27" idx="3"/>
          </p:cNvCxnSpPr>
          <p:nvPr/>
        </p:nvCxnSpPr>
        <p:spPr>
          <a:xfrm flipH="1">
            <a:off x="3375779" y="4589749"/>
            <a:ext cx="2361589" cy="0"/>
          </a:xfrm>
          <a:prstGeom prst="line">
            <a:avLst/>
          </a:prstGeom>
          <a:ln w="19050">
            <a:solidFill>
              <a:srgbClr val="BA61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57FEDE7B-CACA-4D9C-90D3-A382381DF30F}"/>
              </a:ext>
            </a:extLst>
          </p:cNvPr>
          <p:cNvCxnSpPr>
            <a:cxnSpLocks/>
            <a:stCxn id="19" idx="1"/>
            <a:endCxn id="18" idx="1"/>
          </p:cNvCxnSpPr>
          <p:nvPr/>
        </p:nvCxnSpPr>
        <p:spPr>
          <a:xfrm flipH="1">
            <a:off x="5737368" y="3451067"/>
            <a:ext cx="170080" cy="1138682"/>
          </a:xfrm>
          <a:prstGeom prst="line">
            <a:avLst/>
          </a:prstGeom>
          <a:ln w="19050">
            <a:solidFill>
              <a:srgbClr val="BA61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BA9DD990-50BF-4926-8B78-A4753C860330}"/>
              </a:ext>
            </a:extLst>
          </p:cNvPr>
          <p:cNvCxnSpPr>
            <a:cxnSpLocks/>
            <a:stCxn id="20" idx="1"/>
            <a:endCxn id="19" idx="1"/>
          </p:cNvCxnSpPr>
          <p:nvPr/>
        </p:nvCxnSpPr>
        <p:spPr>
          <a:xfrm>
            <a:off x="5737368" y="2323659"/>
            <a:ext cx="170080" cy="1127408"/>
          </a:xfrm>
          <a:prstGeom prst="line">
            <a:avLst/>
          </a:prstGeom>
          <a:ln w="19050">
            <a:solidFill>
              <a:srgbClr val="BA61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C6170100-750D-4200-BE64-9C6E1708AC02}"/>
              </a:ext>
            </a:extLst>
          </p:cNvPr>
          <p:cNvCxnSpPr>
            <a:cxnSpLocks/>
            <a:stCxn id="20" idx="1"/>
            <a:endCxn id="25" idx="3"/>
          </p:cNvCxnSpPr>
          <p:nvPr/>
        </p:nvCxnSpPr>
        <p:spPr>
          <a:xfrm flipH="1">
            <a:off x="3375779" y="2323659"/>
            <a:ext cx="2361589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E87B8501-A34B-486F-BD7A-0F843F3B8D73}"/>
              </a:ext>
            </a:extLst>
          </p:cNvPr>
          <p:cNvCxnSpPr>
            <a:cxnSpLocks/>
            <a:stCxn id="19" idx="1"/>
            <a:endCxn id="20" idx="1"/>
          </p:cNvCxnSpPr>
          <p:nvPr/>
        </p:nvCxnSpPr>
        <p:spPr>
          <a:xfrm flipH="1" flipV="1">
            <a:off x="5737368" y="2323659"/>
            <a:ext cx="170080" cy="1127408"/>
          </a:xfrm>
          <a:prstGeom prst="line">
            <a:avLst/>
          </a:prstGeom>
          <a:ln w="1905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r Verbinder 56">
            <a:extLst>
              <a:ext uri="{FF2B5EF4-FFF2-40B4-BE49-F238E27FC236}">
                <a16:creationId xmlns:a16="http://schemas.microsoft.com/office/drawing/2014/main" id="{A3DB4A0F-CB77-4093-A707-D0DB0B55B0FE}"/>
              </a:ext>
            </a:extLst>
          </p:cNvPr>
          <p:cNvCxnSpPr>
            <a:cxnSpLocks/>
            <a:stCxn id="19" idx="1"/>
            <a:endCxn id="26" idx="3"/>
          </p:cNvCxnSpPr>
          <p:nvPr/>
        </p:nvCxnSpPr>
        <p:spPr>
          <a:xfrm flipH="1">
            <a:off x="3156630" y="3451067"/>
            <a:ext cx="2750818" cy="5637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C0B9D80C-F4E6-460B-97C2-ABFAB7619EC0}"/>
              </a:ext>
            </a:extLst>
          </p:cNvPr>
          <p:cNvCxnSpPr>
            <a:cxnSpLocks/>
            <a:stCxn id="25" idx="3"/>
            <a:endCxn id="26" idx="3"/>
          </p:cNvCxnSpPr>
          <p:nvPr/>
        </p:nvCxnSpPr>
        <p:spPr>
          <a:xfrm flipH="1">
            <a:off x="3156630" y="2323659"/>
            <a:ext cx="219149" cy="1133045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>
            <a:extLst>
              <a:ext uri="{FF2B5EF4-FFF2-40B4-BE49-F238E27FC236}">
                <a16:creationId xmlns:a16="http://schemas.microsoft.com/office/drawing/2014/main" id="{15D00F5D-0D60-4F38-B930-4316BE01CA38}"/>
              </a:ext>
            </a:extLst>
          </p:cNvPr>
          <p:cNvCxnSpPr>
            <a:cxnSpLocks/>
            <a:stCxn id="20" idx="1"/>
            <a:endCxn id="26" idx="3"/>
          </p:cNvCxnSpPr>
          <p:nvPr/>
        </p:nvCxnSpPr>
        <p:spPr>
          <a:xfrm flipH="1">
            <a:off x="3156630" y="2323659"/>
            <a:ext cx="2580738" cy="1133045"/>
          </a:xfrm>
          <a:prstGeom prst="line">
            <a:avLst/>
          </a:prstGeom>
          <a:ln w="19050">
            <a:solidFill>
              <a:srgbClr val="BA61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Ellipse 96">
            <a:extLst>
              <a:ext uri="{FF2B5EF4-FFF2-40B4-BE49-F238E27FC236}">
                <a16:creationId xmlns:a16="http://schemas.microsoft.com/office/drawing/2014/main" id="{55732FF4-216D-45EB-875A-DB63B4FA50DB}"/>
              </a:ext>
            </a:extLst>
          </p:cNvPr>
          <p:cNvSpPr/>
          <p:nvPr/>
        </p:nvSpPr>
        <p:spPr>
          <a:xfrm>
            <a:off x="571782" y="3290168"/>
            <a:ext cx="346600" cy="346600"/>
          </a:xfrm>
          <a:prstGeom prst="ellipse">
            <a:avLst/>
          </a:prstGeom>
          <a:solidFill>
            <a:schemeClr val="bg2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100" b="1" dirty="0"/>
              <a:t>WP5</a:t>
            </a:r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B9DE46B5-E0FC-40A7-8C8A-4B05F49BE1DD}"/>
              </a:ext>
            </a:extLst>
          </p:cNvPr>
          <p:cNvSpPr/>
          <p:nvPr/>
        </p:nvSpPr>
        <p:spPr>
          <a:xfrm>
            <a:off x="8318996" y="4443200"/>
            <a:ext cx="346600" cy="346600"/>
          </a:xfrm>
          <a:prstGeom prst="ellipse">
            <a:avLst/>
          </a:prstGeom>
          <a:solidFill>
            <a:schemeClr val="bg2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100" b="1" dirty="0"/>
              <a:t>WP4</a:t>
            </a:r>
          </a:p>
        </p:txBody>
      </p:sp>
      <p:pic>
        <p:nvPicPr>
          <p:cNvPr id="45" name="Picture 6">
            <a:extLst>
              <a:ext uri="{FF2B5EF4-FFF2-40B4-BE49-F238E27FC236}">
                <a16:creationId xmlns:a16="http://schemas.microsoft.com/office/drawing/2014/main" id="{A7DED585-7C43-46D3-A80A-14C374B57BC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186" t="10492" r="4622" b="6044"/>
          <a:stretch/>
        </p:blipFill>
        <p:spPr>
          <a:xfrm>
            <a:off x="571384" y="4894638"/>
            <a:ext cx="2601064" cy="1271650"/>
          </a:xfrm>
          <a:prstGeom prst="rect">
            <a:avLst/>
          </a:prstGeom>
        </p:spPr>
      </p:pic>
      <p:sp>
        <p:nvSpPr>
          <p:cNvPr id="46" name="Ellipse 45">
            <a:extLst>
              <a:ext uri="{FF2B5EF4-FFF2-40B4-BE49-F238E27FC236}">
                <a16:creationId xmlns:a16="http://schemas.microsoft.com/office/drawing/2014/main" id="{EA04DA5E-26EF-4EE6-8727-F5FF59CAA573}"/>
              </a:ext>
            </a:extLst>
          </p:cNvPr>
          <p:cNvSpPr/>
          <p:nvPr/>
        </p:nvSpPr>
        <p:spPr>
          <a:xfrm>
            <a:off x="406374" y="2153977"/>
            <a:ext cx="346600" cy="346600"/>
          </a:xfrm>
          <a:prstGeom prst="ellipse">
            <a:avLst/>
          </a:prstGeom>
          <a:solidFill>
            <a:schemeClr val="bg2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100" b="1"/>
              <a:t>WP5</a:t>
            </a:r>
          </a:p>
        </p:txBody>
      </p:sp>
      <p:pic>
        <p:nvPicPr>
          <p:cNvPr id="47" name="Grafik 46" descr="Ratlos mit einfarbiger Füllung">
            <a:extLst>
              <a:ext uri="{FF2B5EF4-FFF2-40B4-BE49-F238E27FC236}">
                <a16:creationId xmlns:a16="http://schemas.microsoft.com/office/drawing/2014/main" id="{0D8BEC8F-6CD4-4D72-B46A-A92D347E6B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17597" y="-887108"/>
            <a:ext cx="2156108" cy="2156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471843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EDA2E8E9-22AB-4AD1-9C82-3D348D05D6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b">
            <a:normAutofit/>
          </a:bodyPr>
          <a:lstStyle/>
          <a:p>
            <a:r>
              <a:rPr lang="en-US" dirty="0"/>
              <a:t>Enablers for dependability in I4.0</a:t>
            </a:r>
            <a:endParaRPr lang="en-US" b="0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0333122-4CB5-44EF-BDCB-FE8BCF4A18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514" y="1074822"/>
            <a:ext cx="11690566" cy="5376210"/>
          </a:xfrm>
        </p:spPr>
        <p:txBody>
          <a:bodyPr/>
          <a:lstStyle/>
          <a:p>
            <a:pPr marL="0" indent="0">
              <a:buNone/>
            </a:pPr>
            <a:r>
              <a:rPr lang="en-US" b="1" dirty="0" err="1">
                <a:solidFill>
                  <a:schemeClr val="accent1"/>
                </a:solidFill>
              </a:rPr>
              <a:t>CoCoCo</a:t>
            </a:r>
            <a:r>
              <a:rPr lang="en-US" dirty="0">
                <a:solidFill>
                  <a:schemeClr val="accent1"/>
                </a:solidFill>
              </a:rPr>
              <a:t>: understanding and modeling the impact of real-world constraints on applications</a:t>
            </a:r>
          </a:p>
        </p:txBody>
      </p:sp>
      <p:sp>
        <p:nvSpPr>
          <p:cNvPr id="29" name="Textfeld 28" hidden="1">
            <a:extLst>
              <a:ext uri="{FF2B5EF4-FFF2-40B4-BE49-F238E27FC236}">
                <a16:creationId xmlns:a16="http://schemas.microsoft.com/office/drawing/2014/main" id="{80C3C213-CF2B-40C2-949A-4CB1A6478ED8}"/>
              </a:ext>
            </a:extLst>
          </p:cNvPr>
          <p:cNvSpPr txBox="1"/>
          <p:nvPr/>
        </p:nvSpPr>
        <p:spPr>
          <a:xfrm>
            <a:off x="0" y="5960333"/>
            <a:ext cx="6267157" cy="674200"/>
          </a:xfrm>
          <a:prstGeom prst="rect">
            <a:avLst/>
          </a:prstGeom>
          <a:solidFill>
            <a:srgbClr val="003D75"/>
          </a:solidFill>
        </p:spPr>
        <p:txBody>
          <a:bodyPr wrap="square" lIns="360000" tIns="72000" rIns="144000" bIns="108000" rtlCol="0" anchor="b" anchorCtr="0">
            <a:spAutoFit/>
          </a:bodyPr>
          <a:lstStyle/>
          <a:p>
            <a:pPr>
              <a:spcAft>
                <a:spcPts val="2000"/>
              </a:spcAft>
            </a:pPr>
            <a:r>
              <a:rPr lang="en-US" sz="1600" b="1">
                <a:solidFill>
                  <a:schemeClr val="accent4"/>
                </a:solidFill>
              </a:rPr>
              <a:t>Related measurable result for project objective 4:</a:t>
            </a:r>
            <a:br>
              <a:rPr lang="en-US" sz="1600" b="1">
                <a:solidFill>
                  <a:schemeClr val="accent4"/>
                </a:solidFill>
              </a:rPr>
            </a:br>
            <a:r>
              <a:rPr lang="en-US" sz="1600"/>
              <a:t>Flexible resource allocation in demanding industrial scenarios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1B20887F-E360-44F3-A4C2-644CC45F0B9F}"/>
              </a:ext>
            </a:extLst>
          </p:cNvPr>
          <p:cNvSpPr/>
          <p:nvPr/>
        </p:nvSpPr>
        <p:spPr>
          <a:xfrm>
            <a:off x="958700" y="3030150"/>
            <a:ext cx="3962400" cy="15240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600"/>
              <a:t>Communication-</a:t>
            </a:r>
            <a:br>
              <a:rPr lang="en-US" sz="1600"/>
            </a:br>
            <a:r>
              <a:rPr lang="en-US" sz="1600"/>
              <a:t>computation-</a:t>
            </a:r>
            <a:br>
              <a:rPr lang="en-US" sz="1600"/>
            </a:br>
            <a:r>
              <a:rPr lang="en-US" sz="1600"/>
              <a:t>co-design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C17F07FA-C77E-4C10-BD7B-4F900C2A3FD2}"/>
              </a:ext>
            </a:extLst>
          </p:cNvPr>
          <p:cNvSpPr/>
          <p:nvPr/>
        </p:nvSpPr>
        <p:spPr>
          <a:xfrm>
            <a:off x="867260" y="1790148"/>
            <a:ext cx="4244340" cy="3635482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600" b="1"/>
              <a:t>Communication-</a:t>
            </a:r>
            <a:br>
              <a:rPr lang="en-US" sz="1600" b="1"/>
            </a:br>
            <a:r>
              <a:rPr lang="en-US" sz="1600" b="1"/>
              <a:t>computation-</a:t>
            </a:r>
            <a:br>
              <a:rPr lang="en-US" sz="1600" b="1"/>
            </a:br>
            <a:r>
              <a:rPr lang="en-US" sz="1600" b="1">
                <a:solidFill>
                  <a:schemeClr val="accent1"/>
                </a:solidFill>
              </a:rPr>
              <a:t>control-</a:t>
            </a:r>
            <a:br>
              <a:rPr lang="en-US" sz="1600" b="1"/>
            </a:br>
            <a:r>
              <a:rPr lang="en-US" sz="1600" b="1"/>
              <a:t>co-design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C57F25DD-7F2F-4397-ABFF-7FCDFA8C088D}"/>
              </a:ext>
            </a:extLst>
          </p:cNvPr>
          <p:cNvSpPr/>
          <p:nvPr/>
        </p:nvSpPr>
        <p:spPr>
          <a:xfrm>
            <a:off x="3085809" y="3123093"/>
            <a:ext cx="1737975" cy="603250"/>
          </a:xfrm>
          <a:prstGeom prst="rect">
            <a:avLst/>
          </a:prstGeom>
          <a:noFill/>
          <a:ln w="1270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Times New Roman" panose="02020603050405020304" pitchFamily="18" charset="0"/>
              </a:rPr>
              <a:t>Compute </a:t>
            </a:r>
            <a:b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Times New Roman" panose="02020603050405020304" pitchFamily="18" charset="0"/>
              </a:rPr>
            </a:b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Times New Roman" panose="02020603050405020304" pitchFamily="18" charset="0"/>
              </a:rPr>
              <a:t>resources</a:t>
            </a:r>
          </a:p>
        </p:txBody>
      </p:sp>
      <p:pic>
        <p:nvPicPr>
          <p:cNvPr id="32" name="Grafik 31" descr="Server Silhouette">
            <a:extLst>
              <a:ext uri="{FF2B5EF4-FFF2-40B4-BE49-F238E27FC236}">
                <a16:creationId xmlns:a16="http://schemas.microsoft.com/office/drawing/2014/main" id="{E2D99ECC-DBD6-4F3E-9E91-FE074A887E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237982" y="3140832"/>
            <a:ext cx="567771" cy="567771"/>
          </a:xfrm>
          <a:prstGeom prst="rect">
            <a:avLst/>
          </a:prstGeom>
        </p:spPr>
      </p:pic>
      <p:sp>
        <p:nvSpPr>
          <p:cNvPr id="33" name="Rechteck 32">
            <a:extLst>
              <a:ext uri="{FF2B5EF4-FFF2-40B4-BE49-F238E27FC236}">
                <a16:creationId xmlns:a16="http://schemas.microsoft.com/office/drawing/2014/main" id="{543C6272-B7C9-4333-8D3E-B1B0ACCB960A}"/>
              </a:ext>
            </a:extLst>
          </p:cNvPr>
          <p:cNvSpPr/>
          <p:nvPr/>
        </p:nvSpPr>
        <p:spPr>
          <a:xfrm>
            <a:off x="3085809" y="3857901"/>
            <a:ext cx="1737975" cy="603250"/>
          </a:xfrm>
          <a:prstGeom prst="rect">
            <a:avLst/>
          </a:prstGeom>
          <a:noFill/>
          <a:ln w="1270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Times New Roman" panose="02020603050405020304" pitchFamily="18" charset="0"/>
              </a:rPr>
              <a:t>Network</a:t>
            </a:r>
          </a:p>
        </p:txBody>
      </p:sp>
      <p:pic>
        <p:nvPicPr>
          <p:cNvPr id="34" name="Grafik 33" descr="Drahtlosrouter Silhouette">
            <a:extLst>
              <a:ext uri="{FF2B5EF4-FFF2-40B4-BE49-F238E27FC236}">
                <a16:creationId xmlns:a16="http://schemas.microsoft.com/office/drawing/2014/main" id="{64CCA226-8BC7-45AB-A7C0-359D362B12C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237982" y="3875640"/>
            <a:ext cx="567771" cy="567771"/>
          </a:xfrm>
          <a:prstGeom prst="rect">
            <a:avLst/>
          </a:prstGeom>
        </p:spPr>
      </p:pic>
      <p:sp>
        <p:nvSpPr>
          <p:cNvPr id="35" name="Rechteck 34">
            <a:extLst>
              <a:ext uri="{FF2B5EF4-FFF2-40B4-BE49-F238E27FC236}">
                <a16:creationId xmlns:a16="http://schemas.microsoft.com/office/drawing/2014/main" id="{B7CB5FEB-DB6E-4080-B26A-92D87427EF40}"/>
              </a:ext>
            </a:extLst>
          </p:cNvPr>
          <p:cNvSpPr/>
          <p:nvPr/>
        </p:nvSpPr>
        <p:spPr>
          <a:xfrm>
            <a:off x="3085809" y="2331813"/>
            <a:ext cx="1737975" cy="603250"/>
          </a:xfrm>
          <a:prstGeom prst="rect">
            <a:avLst/>
          </a:prstGeom>
          <a:noFill/>
          <a:ln w="1270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>
                <a:solidFill>
                  <a:srgbClr val="FFFFFF"/>
                </a:solidFill>
                <a:latin typeface="Arial" panose="020B0604020202020204"/>
                <a:cs typeface="Times New Roman" panose="02020603050405020304" pitchFamily="18" charset="0"/>
              </a:rPr>
              <a:t>Control</a:t>
            </a:r>
            <a:br>
              <a:rPr lang="en-US" sz="1200" kern="0">
                <a:solidFill>
                  <a:srgbClr val="FFFFFF"/>
                </a:solidFill>
                <a:latin typeface="Arial" panose="020B0604020202020204"/>
                <a:cs typeface="Times New Roman" panose="02020603050405020304" pitchFamily="18" charset="0"/>
              </a:rPr>
            </a:b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Times New Roman" panose="02020603050405020304" pitchFamily="18" charset="0"/>
              </a:rPr>
              <a:t>application</a:t>
            </a:r>
          </a:p>
        </p:txBody>
      </p:sp>
      <p:pic>
        <p:nvPicPr>
          <p:cNvPr id="36" name="Grafik 35" descr="Cmd (Terminal) Silhouette">
            <a:extLst>
              <a:ext uri="{FF2B5EF4-FFF2-40B4-BE49-F238E27FC236}">
                <a16:creationId xmlns:a16="http://schemas.microsoft.com/office/drawing/2014/main" id="{A593625B-E2B6-4D94-8845-9C1AAA1052F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237982" y="2349552"/>
            <a:ext cx="567771" cy="567771"/>
          </a:xfrm>
          <a:prstGeom prst="rect">
            <a:avLst/>
          </a:prstGeom>
        </p:spPr>
      </p:pic>
      <p:sp>
        <p:nvSpPr>
          <p:cNvPr id="37" name="Rechteck 36">
            <a:extLst>
              <a:ext uri="{FF2B5EF4-FFF2-40B4-BE49-F238E27FC236}">
                <a16:creationId xmlns:a16="http://schemas.microsoft.com/office/drawing/2014/main" id="{D0847FBF-93E5-488D-84D3-F4760D53AC03}"/>
              </a:ext>
            </a:extLst>
          </p:cNvPr>
          <p:cNvSpPr/>
          <p:nvPr/>
        </p:nvSpPr>
        <p:spPr>
          <a:xfrm>
            <a:off x="3085809" y="4647998"/>
            <a:ext cx="1737975" cy="603250"/>
          </a:xfrm>
          <a:prstGeom prst="rect">
            <a:avLst/>
          </a:prstGeom>
          <a:noFill/>
          <a:ln w="1270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Times New Roman" panose="02020603050405020304" pitchFamily="18" charset="0"/>
              </a:rPr>
              <a:t>Machinery</a:t>
            </a:r>
          </a:p>
        </p:txBody>
      </p:sp>
      <p:pic>
        <p:nvPicPr>
          <p:cNvPr id="38" name="Grafik 37" descr="Roboterhand Silhouette">
            <a:extLst>
              <a:ext uri="{FF2B5EF4-FFF2-40B4-BE49-F238E27FC236}">
                <a16:creationId xmlns:a16="http://schemas.microsoft.com/office/drawing/2014/main" id="{1ED90986-E050-4E84-806B-6B0B6328FC8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4237982" y="4665737"/>
            <a:ext cx="567771" cy="567771"/>
          </a:xfrm>
          <a:prstGeom prst="rect">
            <a:avLst/>
          </a:prstGeom>
        </p:spPr>
      </p:pic>
      <p:sp>
        <p:nvSpPr>
          <p:cNvPr id="3" name="Pfeil: nach oben und unten 2">
            <a:extLst>
              <a:ext uri="{FF2B5EF4-FFF2-40B4-BE49-F238E27FC236}">
                <a16:creationId xmlns:a16="http://schemas.microsoft.com/office/drawing/2014/main" id="{751085E2-52CC-468A-BE75-0845E2753D2D}"/>
              </a:ext>
            </a:extLst>
          </p:cNvPr>
          <p:cNvSpPr/>
          <p:nvPr/>
        </p:nvSpPr>
        <p:spPr>
          <a:xfrm>
            <a:off x="3950152" y="3500877"/>
            <a:ext cx="300919" cy="567344"/>
          </a:xfrm>
          <a:prstGeom prst="up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Pfeil: nach oben und unten 38">
            <a:extLst>
              <a:ext uri="{FF2B5EF4-FFF2-40B4-BE49-F238E27FC236}">
                <a16:creationId xmlns:a16="http://schemas.microsoft.com/office/drawing/2014/main" id="{5DA8DD1D-9EB0-4EBF-9BCE-4CA4FBAB17CC}"/>
              </a:ext>
            </a:extLst>
          </p:cNvPr>
          <p:cNvSpPr/>
          <p:nvPr/>
        </p:nvSpPr>
        <p:spPr>
          <a:xfrm>
            <a:off x="2706260" y="2712888"/>
            <a:ext cx="300919" cy="624078"/>
          </a:xfrm>
          <a:prstGeom prst="upDown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Verbinder: gewinkelt 7">
            <a:extLst>
              <a:ext uri="{FF2B5EF4-FFF2-40B4-BE49-F238E27FC236}">
                <a16:creationId xmlns:a16="http://schemas.microsoft.com/office/drawing/2014/main" id="{FB023C42-773B-47AE-9048-238C596B4977}"/>
              </a:ext>
            </a:extLst>
          </p:cNvPr>
          <p:cNvCxnSpPr>
            <a:stCxn id="35" idx="3"/>
            <a:endCxn id="37" idx="3"/>
          </p:cNvCxnSpPr>
          <p:nvPr/>
        </p:nvCxnSpPr>
        <p:spPr>
          <a:xfrm>
            <a:off x="4823784" y="2633438"/>
            <a:ext cx="12700" cy="2316185"/>
          </a:xfrm>
          <a:prstGeom prst="bentConnector3">
            <a:avLst>
              <a:gd name="adj1" fmla="val 1440000"/>
            </a:avLst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Ellipse 39">
            <a:extLst>
              <a:ext uri="{FF2B5EF4-FFF2-40B4-BE49-F238E27FC236}">
                <a16:creationId xmlns:a16="http://schemas.microsoft.com/office/drawing/2014/main" id="{087B35F8-8733-4B83-8CA3-5E44F2CB937B}"/>
              </a:ext>
            </a:extLst>
          </p:cNvPr>
          <p:cNvSpPr/>
          <p:nvPr/>
        </p:nvSpPr>
        <p:spPr>
          <a:xfrm>
            <a:off x="1056463" y="4126001"/>
            <a:ext cx="346600" cy="346600"/>
          </a:xfrm>
          <a:prstGeom prst="ellipse">
            <a:avLst/>
          </a:prstGeom>
          <a:solidFill>
            <a:schemeClr val="bg2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100" b="1"/>
              <a:t>WP4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2C6D11D7-8957-40C6-B94D-28BEE2FA94C7}"/>
              </a:ext>
            </a:extLst>
          </p:cNvPr>
          <p:cNvSpPr txBox="1"/>
          <p:nvPr/>
        </p:nvSpPr>
        <p:spPr>
          <a:xfrm>
            <a:off x="5491114" y="2092994"/>
            <a:ext cx="3362019" cy="34470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dirty="0"/>
              <a:t>Impact of temporal correlation of packet losses on industrial control applications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lang="en-US" sz="1400" kern="0" dirty="0"/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Cross-domain reliability modeling, demonstrated with inverted pendulum example</a:t>
            </a:r>
          </a:p>
          <a:p>
            <a:pPr>
              <a:spcAft>
                <a:spcPts val="1200"/>
              </a:spcAft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evelopment of method for best trade-off between sum-rate, power, delay and EMF exposure in computational offloading scenarios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776A3C5A-4963-4995-8D15-E2BE62753C02}"/>
              </a:ext>
            </a:extLst>
          </p:cNvPr>
          <p:cNvSpPr txBox="1"/>
          <p:nvPr/>
        </p:nvSpPr>
        <p:spPr>
          <a:xfrm>
            <a:off x="5491115" y="1709225"/>
            <a:ext cx="144943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E1698A"/>
                </a:solidFill>
                <a:effectLst/>
                <a:uLnTx/>
                <a:uFillTx/>
              </a:rPr>
              <a:t>Focus topics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F352C06D-A508-4A4D-9D9E-6916D599C7E3}"/>
              </a:ext>
            </a:extLst>
          </p:cNvPr>
          <p:cNvGrpSpPr/>
          <p:nvPr/>
        </p:nvGrpSpPr>
        <p:grpSpPr>
          <a:xfrm>
            <a:off x="5651496" y="2659546"/>
            <a:ext cx="2912553" cy="730761"/>
            <a:chOff x="5088900" y="4821437"/>
            <a:chExt cx="3253719" cy="816360"/>
          </a:xfrm>
        </p:grpSpPr>
        <p:pic>
          <p:nvPicPr>
            <p:cNvPr id="43" name="Picture 2" descr="Chart, histogram&#10;&#10;Description automatically generated">
              <a:extLst>
                <a:ext uri="{FF2B5EF4-FFF2-40B4-BE49-F238E27FC236}">
                  <a16:creationId xmlns:a16="http://schemas.microsoft.com/office/drawing/2014/main" id="{2663179A-987D-46B9-ACC9-1525B2A370A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88900" y="4892591"/>
              <a:ext cx="3253719" cy="745206"/>
            </a:xfrm>
            <a:prstGeom prst="rect">
              <a:avLst/>
            </a:prstGeom>
            <a:ln w="28575">
              <a:solidFill>
                <a:schemeClr val="bg2"/>
              </a:solidFill>
            </a:ln>
          </p:spPr>
        </p:pic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2BE0D3AF-7170-444C-A849-EE4A2FA623D6}"/>
                </a:ext>
              </a:extLst>
            </p:cNvPr>
            <p:cNvSpPr txBox="1"/>
            <p:nvPr/>
          </p:nvSpPr>
          <p:spPr>
            <a:xfrm>
              <a:off x="5308645" y="5065201"/>
              <a:ext cx="66236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>
                  <a:solidFill>
                    <a:schemeClr val="bg2"/>
                  </a:solidFill>
                </a:rPr>
                <a:t>stable</a:t>
              </a:r>
            </a:p>
          </p:txBody>
        </p: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593A9DC4-4B78-4ABE-81BB-BACA0B5C60DE}"/>
                </a:ext>
              </a:extLst>
            </p:cNvPr>
            <p:cNvSpPr txBox="1"/>
            <p:nvPr/>
          </p:nvSpPr>
          <p:spPr>
            <a:xfrm>
              <a:off x="7079733" y="4821437"/>
              <a:ext cx="86113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>
                  <a:solidFill>
                    <a:schemeClr val="bg2"/>
                  </a:solidFill>
                </a:rPr>
                <a:t>unstable</a:t>
              </a:r>
            </a:p>
          </p:txBody>
        </p:sp>
      </p:grpSp>
      <p:pic>
        <p:nvPicPr>
          <p:cNvPr id="45" name="Picture 3">
            <a:extLst>
              <a:ext uri="{FF2B5EF4-FFF2-40B4-BE49-F238E27FC236}">
                <a16:creationId xmlns:a16="http://schemas.microsoft.com/office/drawing/2014/main" id="{BE750DA0-A0C4-4F8E-BF97-403C926247C4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20931" r="19963" b="8545"/>
          <a:stretch/>
        </p:blipFill>
        <p:spPr>
          <a:xfrm>
            <a:off x="1874566" y="5113873"/>
            <a:ext cx="2229727" cy="1448746"/>
          </a:xfrm>
          <a:prstGeom prst="rect">
            <a:avLst/>
          </a:prstGeom>
        </p:spPr>
      </p:pic>
      <p:pic>
        <p:nvPicPr>
          <p:cNvPr id="46" name="Grafik 45" descr="Schild Häkchen mit einfarbiger Füllung">
            <a:extLst>
              <a:ext uri="{FF2B5EF4-FFF2-40B4-BE49-F238E27FC236}">
                <a16:creationId xmlns:a16="http://schemas.microsoft.com/office/drawing/2014/main" id="{B7640DB6-20F2-4FD4-A8CA-9247A4ED2A3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634061" y="-254705"/>
            <a:ext cx="1338773" cy="1338773"/>
          </a:xfrm>
          <a:prstGeom prst="rect">
            <a:avLst/>
          </a:prstGeom>
        </p:spPr>
      </p:pic>
      <p:pic>
        <p:nvPicPr>
          <p:cNvPr id="47" name="Grafik 46" descr="Stoppuhr 75% mit einfarbiger Füllung">
            <a:extLst>
              <a:ext uri="{FF2B5EF4-FFF2-40B4-BE49-F238E27FC236}">
                <a16:creationId xmlns:a16="http://schemas.microsoft.com/office/drawing/2014/main" id="{11F7BB9A-BC70-4BE9-B10D-C151C6179E14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9649857" y="160422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63315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EDA2E8E9-22AB-4AD1-9C82-3D348D05D6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b">
            <a:normAutofit/>
          </a:bodyPr>
          <a:lstStyle/>
          <a:p>
            <a:r>
              <a:rPr lang="en-US" dirty="0"/>
              <a:t>Enablers for dependability in I4.0</a:t>
            </a:r>
            <a:endParaRPr lang="en-US" b="0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0333122-4CB5-44EF-BDCB-FE8BCF4A18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514" y="1074822"/>
            <a:ext cx="9718977" cy="5376210"/>
          </a:xfrm>
        </p:spPr>
        <p:txBody>
          <a:bodyPr/>
          <a:lstStyle/>
          <a:p>
            <a:pPr marL="0" indent="0">
              <a:buNone/>
            </a:pPr>
            <a:r>
              <a:rPr lang="en-US" b="1" dirty="0">
                <a:solidFill>
                  <a:schemeClr val="accent1"/>
                </a:solidFill>
              </a:rPr>
              <a:t>Quantifying and monitoring dependability</a:t>
            </a:r>
            <a:r>
              <a:rPr lang="en-US" dirty="0">
                <a:solidFill>
                  <a:schemeClr val="accent1"/>
                </a:solidFill>
              </a:rPr>
              <a:t>,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en-US" dirty="0">
                <a:solidFill>
                  <a:schemeClr val="accent1"/>
                </a:solidFill>
              </a:rPr>
              <a:t>error identification</a:t>
            </a:r>
          </a:p>
          <a:p>
            <a:pPr marL="0" indent="0">
              <a:buNone/>
            </a:pPr>
            <a:endParaRPr lang="en-US" dirty="0">
              <a:solidFill>
                <a:schemeClr val="accent1"/>
              </a:solidFill>
            </a:endParaRPr>
          </a:p>
          <a:p>
            <a:pPr marL="0" indent="0">
              <a:buNone/>
            </a:pPr>
            <a:endParaRPr lang="en-US" dirty="0">
              <a:solidFill>
                <a:schemeClr val="accent1"/>
              </a:solidFill>
            </a:endParaRPr>
          </a:p>
          <a:p>
            <a:pPr marL="0" indent="0">
              <a:buNone/>
            </a:pPr>
            <a:endParaRPr lang="en-US" dirty="0">
              <a:solidFill>
                <a:schemeClr val="accent1"/>
              </a:solidFill>
            </a:endParaRPr>
          </a:p>
          <a:p>
            <a:pPr marL="0" indent="0">
              <a:buNone/>
            </a:pPr>
            <a:endParaRPr lang="en-US" dirty="0">
              <a:solidFill>
                <a:schemeClr val="accent1"/>
              </a:solidFill>
            </a:endParaRPr>
          </a:p>
          <a:p>
            <a:pPr marL="0" indent="0">
              <a:buNone/>
            </a:pPr>
            <a:endParaRPr lang="en-US" dirty="0">
              <a:solidFill>
                <a:schemeClr val="accent1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chemeClr val="accent1"/>
                </a:solidFill>
              </a:rPr>
              <a:t>Increasing dependability </a:t>
            </a:r>
            <a:r>
              <a:rPr lang="en-US" b="1" dirty="0">
                <a:solidFill>
                  <a:schemeClr val="accent1"/>
                </a:solidFill>
              </a:rPr>
              <a:t>with digital twins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29" name="Textfeld 28" hidden="1">
            <a:extLst>
              <a:ext uri="{FF2B5EF4-FFF2-40B4-BE49-F238E27FC236}">
                <a16:creationId xmlns:a16="http://schemas.microsoft.com/office/drawing/2014/main" id="{80C3C213-CF2B-40C2-949A-4CB1A6478ED8}"/>
              </a:ext>
            </a:extLst>
          </p:cNvPr>
          <p:cNvSpPr txBox="1"/>
          <p:nvPr/>
        </p:nvSpPr>
        <p:spPr>
          <a:xfrm>
            <a:off x="0" y="5960333"/>
            <a:ext cx="6267157" cy="674200"/>
          </a:xfrm>
          <a:prstGeom prst="rect">
            <a:avLst/>
          </a:prstGeom>
          <a:solidFill>
            <a:srgbClr val="003D75"/>
          </a:solidFill>
        </p:spPr>
        <p:txBody>
          <a:bodyPr wrap="square" lIns="360000" tIns="72000" rIns="144000" bIns="108000" rtlCol="0" anchor="b" anchorCtr="0">
            <a:spAutoFit/>
          </a:bodyPr>
          <a:lstStyle/>
          <a:p>
            <a:pPr>
              <a:spcAft>
                <a:spcPts val="2000"/>
              </a:spcAft>
            </a:pPr>
            <a:r>
              <a:rPr lang="en-US" sz="1600" b="1">
                <a:solidFill>
                  <a:schemeClr val="accent4"/>
                </a:solidFill>
              </a:rPr>
              <a:t>Related measurable result for project objective 4:</a:t>
            </a:r>
            <a:br>
              <a:rPr lang="en-US" sz="1600" b="1">
                <a:solidFill>
                  <a:schemeClr val="accent4"/>
                </a:solidFill>
              </a:rPr>
            </a:br>
            <a:r>
              <a:rPr lang="en-US" sz="1600"/>
              <a:t>Flexible resource allocation in demanding industrial scenarios</a:t>
            </a:r>
          </a:p>
        </p:txBody>
      </p:sp>
      <p:pic>
        <p:nvPicPr>
          <p:cNvPr id="54" name="Grafik 53">
            <a:extLst>
              <a:ext uri="{FF2B5EF4-FFF2-40B4-BE49-F238E27FC236}">
                <a16:creationId xmlns:a16="http://schemas.microsoft.com/office/drawing/2014/main" id="{BB00C964-8779-4AAB-BCDB-A3D9814287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8049" y="1609276"/>
            <a:ext cx="1092919" cy="1831686"/>
          </a:xfrm>
          <a:prstGeom prst="rect">
            <a:avLst/>
          </a:prstGeom>
        </p:spPr>
      </p:pic>
      <p:pic>
        <p:nvPicPr>
          <p:cNvPr id="55" name="Picture 109">
            <a:extLst>
              <a:ext uri="{FF2B5EF4-FFF2-40B4-BE49-F238E27FC236}">
                <a16:creationId xmlns:a16="http://schemas.microsoft.com/office/drawing/2014/main" id="{B6AE4266-1041-48A3-9A47-A5A1C4693EB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742" r="5011"/>
          <a:stretch/>
        </p:blipFill>
        <p:spPr>
          <a:xfrm>
            <a:off x="762923" y="4129192"/>
            <a:ext cx="1614514" cy="1508494"/>
          </a:xfrm>
          <a:prstGeom prst="rect">
            <a:avLst/>
          </a:prstGeom>
        </p:spPr>
      </p:pic>
      <p:sp>
        <p:nvSpPr>
          <p:cNvPr id="56" name="Textfeld 55">
            <a:extLst>
              <a:ext uri="{FF2B5EF4-FFF2-40B4-BE49-F238E27FC236}">
                <a16:creationId xmlns:a16="http://schemas.microsoft.com/office/drawing/2014/main" id="{D8AF735A-D280-4978-AC60-17024D39AFE7}"/>
              </a:ext>
            </a:extLst>
          </p:cNvPr>
          <p:cNvSpPr txBox="1"/>
          <p:nvPr/>
        </p:nvSpPr>
        <p:spPr>
          <a:xfrm>
            <a:off x="2522119" y="4285624"/>
            <a:ext cx="5827236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/>
              <a:t>Incorporate BS/UE capabilities in models</a:t>
            </a:r>
          </a:p>
          <a:p>
            <a:pPr>
              <a:spcAft>
                <a:spcPts val="600"/>
              </a:spcAft>
            </a:pPr>
            <a:r>
              <a:rPr lang="en-US"/>
              <a:t>Properties of transmitting nodes (trajectories, positions)</a:t>
            </a:r>
          </a:p>
          <a:p>
            <a:pPr>
              <a:spcAft>
                <a:spcPts val="600"/>
              </a:spcAft>
            </a:pPr>
            <a:r>
              <a:rPr lang="en-US"/>
              <a:t>Create and maintain radio environment maps</a:t>
            </a:r>
          </a:p>
        </p:txBody>
      </p:sp>
      <p:pic>
        <p:nvPicPr>
          <p:cNvPr id="58" name="Grafik 57" descr="Lupe Silhouette">
            <a:extLst>
              <a:ext uri="{FF2B5EF4-FFF2-40B4-BE49-F238E27FC236}">
                <a16:creationId xmlns:a16="http://schemas.microsoft.com/office/drawing/2014/main" id="{141DA677-C93B-4485-9B2B-051C1D969F9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0287" y="1753070"/>
            <a:ext cx="1472650" cy="1472650"/>
          </a:xfrm>
          <a:prstGeom prst="rect">
            <a:avLst/>
          </a:prstGeom>
        </p:spPr>
      </p:pic>
      <p:sp>
        <p:nvSpPr>
          <p:cNvPr id="59" name="Textfeld 58">
            <a:extLst>
              <a:ext uri="{FF2B5EF4-FFF2-40B4-BE49-F238E27FC236}">
                <a16:creationId xmlns:a16="http://schemas.microsoft.com/office/drawing/2014/main" id="{FF838738-13A0-4362-B813-9A37D41E2D1F}"/>
              </a:ext>
            </a:extLst>
          </p:cNvPr>
          <p:cNvSpPr txBox="1"/>
          <p:nvPr/>
        </p:nvSpPr>
        <p:spPr>
          <a:xfrm>
            <a:off x="2522119" y="1950786"/>
            <a:ext cx="6019597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Capture application, network, and infrastructure events</a:t>
            </a:r>
          </a:p>
          <a:p>
            <a:pPr>
              <a:spcAft>
                <a:spcPts val="600"/>
              </a:spcAft>
            </a:pPr>
            <a:r>
              <a:rPr lang="en-US" dirty="0"/>
              <a:t>Estimate impact on application productivity (</a:t>
            </a:r>
            <a:r>
              <a:rPr lang="en-US" dirty="0">
                <a:sym typeface="Wingdings" panose="05000000000000000000" pitchFamily="2" charset="2"/>
              </a:rPr>
              <a:t></a:t>
            </a:r>
            <a:r>
              <a:rPr lang="en-US" dirty="0"/>
              <a:t> </a:t>
            </a:r>
            <a:r>
              <a:rPr lang="en-US" dirty="0" err="1"/>
              <a:t>CoCoCo</a:t>
            </a:r>
            <a:r>
              <a:rPr lang="en-US" dirty="0"/>
              <a:t>)</a:t>
            </a:r>
          </a:p>
          <a:p>
            <a:pPr>
              <a:spcAft>
                <a:spcPts val="600"/>
              </a:spcAft>
            </a:pPr>
            <a:r>
              <a:rPr lang="en-US" dirty="0"/>
              <a:t>Utilize resource allocation strategies to mitigate failures</a:t>
            </a:r>
          </a:p>
        </p:txBody>
      </p:sp>
      <p:pic>
        <p:nvPicPr>
          <p:cNvPr id="30" name="Grafik 29" descr="Schild Häkchen mit einfarbiger Füllung">
            <a:extLst>
              <a:ext uri="{FF2B5EF4-FFF2-40B4-BE49-F238E27FC236}">
                <a16:creationId xmlns:a16="http://schemas.microsoft.com/office/drawing/2014/main" id="{FB020A47-B503-4D1E-BF8E-C8F39535ECE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634061" y="-254705"/>
            <a:ext cx="1338773" cy="1338773"/>
          </a:xfrm>
          <a:prstGeom prst="rect">
            <a:avLst/>
          </a:prstGeom>
        </p:spPr>
      </p:pic>
      <p:pic>
        <p:nvPicPr>
          <p:cNvPr id="31" name="Grafik 30" descr="Stoppuhr 75% mit einfarbiger Füllung">
            <a:extLst>
              <a:ext uri="{FF2B5EF4-FFF2-40B4-BE49-F238E27FC236}">
                <a16:creationId xmlns:a16="http://schemas.microsoft.com/office/drawing/2014/main" id="{1327D555-03E8-4250-A6F2-F4011ABA26C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649857" y="160422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6111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A048BB51-97D6-4DA5-8C25-6FE3F70DB5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516" y="-325967"/>
            <a:ext cx="5289764" cy="1334122"/>
          </a:xfrm>
        </p:spPr>
        <p:txBody>
          <a:bodyPr>
            <a:normAutofit fontScale="90000"/>
          </a:bodyPr>
          <a:lstStyle/>
          <a:p>
            <a:r>
              <a:rPr lang="en-US" dirty="0"/>
              <a:t>Hexa-X:  </a:t>
            </a:r>
            <a:br>
              <a:rPr lang="en-US" dirty="0"/>
            </a:br>
            <a:r>
              <a:rPr lang="en-US" dirty="0"/>
              <a:t>A flagship EU B5G/6G project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DE8BB2C5-0BBF-4FE5-BDD0-478EF3CA1D1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79516" y="1738366"/>
            <a:ext cx="7938984" cy="4712657"/>
          </a:xfrm>
        </p:spPr>
        <p:txBody>
          <a:bodyPr>
            <a:normAutofit/>
          </a:bodyPr>
          <a:lstStyle/>
          <a:p>
            <a:pPr algn="just"/>
            <a:r>
              <a:rPr lang="en-US" dirty="0"/>
              <a:t>A flagship for 6G vision and intelligent fabric of technology enablers connecting human, physical, and digital worlds</a:t>
            </a:r>
          </a:p>
          <a:p>
            <a:pPr algn="just"/>
            <a:endParaRPr lang="en-US" dirty="0"/>
          </a:p>
          <a:p>
            <a:pPr algn="just"/>
            <a:r>
              <a:rPr lang="en-US" dirty="0"/>
              <a:t>Looking forward into 2030 and beyond, the ambition of the Hexa-X project includes developing key technology enablers in the areas of:</a:t>
            </a:r>
          </a:p>
          <a:p>
            <a:pPr marL="800100" lvl="1" indent="-342900" algn="just">
              <a:buFont typeface="Courier New" panose="02070309020205020404" pitchFamily="49" charset="0"/>
              <a:buChar char="o"/>
            </a:pPr>
            <a:r>
              <a:rPr lang="en-US" sz="1900" dirty="0"/>
              <a:t>fundamentally new radio access technologies at high frequencies and high-resolution localization and sensing;</a:t>
            </a:r>
          </a:p>
          <a:p>
            <a:pPr marL="800100" lvl="1" indent="-342900" algn="just">
              <a:buFont typeface="Courier New" panose="02070309020205020404" pitchFamily="49" charset="0"/>
              <a:buChar char="o"/>
            </a:pPr>
            <a:r>
              <a:rPr lang="en-US" sz="1900" dirty="0"/>
              <a:t>connected intelligence through AI-driven air interface and governance for future networks, and</a:t>
            </a:r>
          </a:p>
          <a:p>
            <a:pPr marL="800100" lvl="1" indent="-342900" algn="just">
              <a:buFont typeface="Courier New" panose="02070309020205020404" pitchFamily="49" charset="0"/>
              <a:buChar char="o"/>
            </a:pPr>
            <a:r>
              <a:rPr lang="en-US" sz="1900" dirty="0"/>
              <a:t>6G architectural enablers for network disaggregation and dynamic dependability.</a:t>
            </a:r>
          </a:p>
          <a:p>
            <a:pPr algn="just"/>
            <a:endParaRPr lang="en-US" dirty="0"/>
          </a:p>
        </p:txBody>
      </p:sp>
      <p:pic>
        <p:nvPicPr>
          <p:cNvPr id="1026" name="Picture 2" descr="Hexa-X">
            <a:extLst>
              <a:ext uri="{FF2B5EF4-FFF2-40B4-BE49-F238E27FC236}">
                <a16:creationId xmlns:a16="http://schemas.microsoft.com/office/drawing/2014/main" id="{A6033365-9601-4DB6-A916-FA1F0F324C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3351" y="2691653"/>
            <a:ext cx="2089149" cy="1474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893620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EDA2E8E9-22AB-4AD1-9C82-3D348D05D6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b">
            <a:normAutofit/>
          </a:bodyPr>
          <a:lstStyle/>
          <a:p>
            <a:r>
              <a:rPr lang="en-US" dirty="0"/>
              <a:t>HMIs and digital twins</a:t>
            </a:r>
            <a:endParaRPr lang="en-US" b="0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0333122-4CB5-44EF-BDCB-FE8BCF4A18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515" y="1074822"/>
            <a:ext cx="11432964" cy="44981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b="1">
                <a:solidFill>
                  <a:schemeClr val="accent1"/>
                </a:solidFill>
              </a:rPr>
              <a:t>Ecosystem of collaborating DTs </a:t>
            </a:r>
            <a:r>
              <a:rPr lang="en-US">
                <a:solidFill>
                  <a:schemeClr val="accent1"/>
                </a:solidFill>
              </a:rPr>
              <a:t>in human-centric industrial environments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E53EB1A-AE19-47DF-B527-A4378161211A}"/>
              </a:ext>
            </a:extLst>
          </p:cNvPr>
          <p:cNvGrpSpPr/>
          <p:nvPr/>
        </p:nvGrpSpPr>
        <p:grpSpPr>
          <a:xfrm>
            <a:off x="1007729" y="1721779"/>
            <a:ext cx="9153413" cy="3627770"/>
            <a:chOff x="504627" y="1726585"/>
            <a:chExt cx="9153413" cy="3627770"/>
          </a:xfrm>
        </p:grpSpPr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0804DC15-DDB5-4AE0-952E-E85AC1B7A9CF}"/>
                </a:ext>
              </a:extLst>
            </p:cNvPr>
            <p:cNvSpPr/>
            <p:nvPr/>
          </p:nvSpPr>
          <p:spPr>
            <a:xfrm>
              <a:off x="3763133" y="1985538"/>
              <a:ext cx="1572577" cy="3368817"/>
            </a:xfrm>
            <a:prstGeom prst="rect">
              <a:avLst/>
            </a:prstGeom>
            <a:noFill/>
            <a:ln w="12700" cap="flat" cmpd="sng" algn="ctr">
              <a:solidFill>
                <a:srgbClr val="00B9F0"/>
              </a:solidFill>
              <a:prstDash val="solid"/>
              <a:miter lim="800000"/>
            </a:ln>
            <a:effectLst/>
          </p:spPr>
          <p:txBody>
            <a:bodyPr rtlCol="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ollaborating DTs and 6G capabilities</a:t>
              </a:r>
            </a:p>
          </p:txBody>
        </p:sp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8C9F1006-33F1-4751-86CE-9843B2A8403F}"/>
                </a:ext>
              </a:extLst>
            </p:cNvPr>
            <p:cNvSpPr/>
            <p:nvPr/>
          </p:nvSpPr>
          <p:spPr>
            <a:xfrm>
              <a:off x="2484922" y="1985538"/>
              <a:ext cx="994329" cy="2670811"/>
            </a:xfrm>
            <a:prstGeom prst="rect">
              <a:avLst/>
            </a:prstGeom>
            <a:solidFill>
              <a:srgbClr val="006AB5"/>
            </a:solidFill>
            <a:ln w="12700" cap="flat" cmpd="sng" algn="ctr">
              <a:solidFill>
                <a:srgbClr val="006AB5"/>
              </a:solidFill>
              <a:prstDash val="solid"/>
              <a:miter lim="800000"/>
            </a:ln>
            <a:effectLst/>
          </p:spPr>
          <p:txBody>
            <a:bodyPr rtlCol="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Times New Roman" panose="02020603050405020304" pitchFamily="18" charset="0"/>
                </a:rPr>
                <a:t>Industrial digital twin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DB05FD96-B7B5-43AF-ACA7-1119120E0904}"/>
                </a:ext>
              </a:extLst>
            </p:cNvPr>
            <p:cNvSpPr/>
            <p:nvPr/>
          </p:nvSpPr>
          <p:spPr>
            <a:xfrm>
              <a:off x="3315358" y="3624855"/>
              <a:ext cx="2020350" cy="465189"/>
            </a:xfrm>
            <a:prstGeom prst="rect">
              <a:avLst/>
            </a:prstGeom>
            <a:solidFill>
              <a:srgbClr val="00B9F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ocalization/Sensing</a:t>
              </a:r>
            </a:p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kern="0">
                  <a:solidFill>
                    <a:srgbClr val="FFFFFF"/>
                  </a:solidFill>
                  <a:latin typeface="Arial" panose="020B0604020202020204"/>
                </a:rPr>
                <a:t>Novel HMIs</a:t>
              </a: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B6B21ED4-6C14-4F1D-A906-878C8A5D1C28}"/>
                </a:ext>
              </a:extLst>
            </p:cNvPr>
            <p:cNvSpPr/>
            <p:nvPr/>
          </p:nvSpPr>
          <p:spPr>
            <a:xfrm>
              <a:off x="3315359" y="2154610"/>
              <a:ext cx="2020350" cy="465190"/>
            </a:xfrm>
            <a:prstGeom prst="rect">
              <a:avLst/>
            </a:prstGeom>
            <a:solidFill>
              <a:srgbClr val="00B9F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ompute / </a:t>
              </a:r>
              <a:b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I-as-a-Service</a:t>
              </a:r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4D6B2AD5-0DEF-478E-86E1-A2960D6BBCAE}"/>
                </a:ext>
              </a:extLst>
            </p:cNvPr>
            <p:cNvSpPr/>
            <p:nvPr/>
          </p:nvSpPr>
          <p:spPr>
            <a:xfrm>
              <a:off x="3315359" y="2886798"/>
              <a:ext cx="2020350" cy="465189"/>
            </a:xfrm>
            <a:prstGeom prst="rect">
              <a:avLst/>
            </a:prstGeom>
            <a:solidFill>
              <a:srgbClr val="00B9F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Network </a:t>
              </a:r>
              <a:b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wareness</a:t>
              </a:r>
            </a:p>
          </p:txBody>
        </p:sp>
        <p:sp>
          <p:nvSpPr>
            <p:cNvPr id="64" name="Rechteck 63">
              <a:extLst>
                <a:ext uri="{FF2B5EF4-FFF2-40B4-BE49-F238E27FC236}">
                  <a16:creationId xmlns:a16="http://schemas.microsoft.com/office/drawing/2014/main" id="{0BEBF584-D476-43CE-AF6B-65FC4E27BA75}"/>
                </a:ext>
              </a:extLst>
            </p:cNvPr>
            <p:cNvSpPr/>
            <p:nvPr/>
          </p:nvSpPr>
          <p:spPr>
            <a:xfrm>
              <a:off x="504627" y="2086211"/>
              <a:ext cx="1737975" cy="603250"/>
            </a:xfrm>
            <a:prstGeom prst="rect">
              <a:avLst/>
            </a:prstGeom>
            <a:noFill/>
            <a:ln w="12700" cap="flat" cmpd="sng" algn="ctr">
              <a:solidFill>
                <a:schemeClr val="accent2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Times New Roman" panose="02020603050405020304" pitchFamily="18" charset="0"/>
                </a:rPr>
                <a:t>I4.0 Application</a:t>
              </a:r>
            </a:p>
          </p:txBody>
        </p:sp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0CC56341-D62E-4613-8F02-3EA2A4AD14B8}"/>
                </a:ext>
              </a:extLst>
            </p:cNvPr>
            <p:cNvSpPr/>
            <p:nvPr/>
          </p:nvSpPr>
          <p:spPr>
            <a:xfrm>
              <a:off x="2637322" y="2086211"/>
              <a:ext cx="678038" cy="603250"/>
            </a:xfrm>
            <a:prstGeom prst="rect">
              <a:avLst/>
            </a:prstGeom>
            <a:noFill/>
            <a:ln w="12700" cap="flat" cmpd="sng" algn="ctr">
              <a:solidFill>
                <a:srgbClr val="001035"/>
              </a:solidFill>
              <a:prstDash val="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1035"/>
                </a:solidFill>
                <a:effectLst/>
                <a:uLnTx/>
                <a:uFillTx/>
                <a:latin typeface="Arial" panose="020B0604020202020204"/>
                <a:ea typeface="+mn-ea"/>
                <a:cs typeface="Times New Roman" panose="02020603050405020304" pitchFamily="18" charset="0"/>
              </a:endParaRPr>
            </a:p>
          </p:txBody>
        </p:sp>
        <p:pic>
          <p:nvPicPr>
            <p:cNvPr id="66" name="Grafik 65" descr="Cmd (Terminal) Silhouette">
              <a:extLst>
                <a:ext uri="{FF2B5EF4-FFF2-40B4-BE49-F238E27FC236}">
                  <a16:creationId xmlns:a16="http://schemas.microsoft.com/office/drawing/2014/main" id="{70E0BF48-3D4B-442E-AF05-DBE845BF14D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656800" y="2103950"/>
              <a:ext cx="567771" cy="567771"/>
            </a:xfrm>
            <a:prstGeom prst="rect">
              <a:avLst/>
            </a:prstGeom>
          </p:spPr>
        </p:pic>
        <p:pic>
          <p:nvPicPr>
            <p:cNvPr id="67" name="Grafik 66" descr="Cmd (Terminal) Silhouette">
              <a:extLst>
                <a:ext uri="{FF2B5EF4-FFF2-40B4-BE49-F238E27FC236}">
                  <a16:creationId xmlns:a16="http://schemas.microsoft.com/office/drawing/2014/main" id="{9E210A9E-1089-45B0-8A4D-978F89F86D1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692455" y="2103950"/>
              <a:ext cx="567771" cy="567771"/>
            </a:xfrm>
            <a:prstGeom prst="rect">
              <a:avLst/>
            </a:prstGeom>
          </p:spPr>
        </p:pic>
        <p:cxnSp>
          <p:nvCxnSpPr>
            <p:cNvPr id="68" name="Gerade Verbindung mit Pfeil 67">
              <a:extLst>
                <a:ext uri="{FF2B5EF4-FFF2-40B4-BE49-F238E27FC236}">
                  <a16:creationId xmlns:a16="http://schemas.microsoft.com/office/drawing/2014/main" id="{EAB9D242-9393-4F48-A3BF-414DF785EAF4}"/>
                </a:ext>
              </a:extLst>
            </p:cNvPr>
            <p:cNvCxnSpPr>
              <a:cxnSpLocks/>
              <a:stCxn id="64" idx="3"/>
              <a:endCxn id="65" idx="1"/>
            </p:cNvCxnSpPr>
            <p:nvPr/>
          </p:nvCxnSpPr>
          <p:spPr>
            <a:xfrm>
              <a:off x="2242602" y="2387836"/>
              <a:ext cx="394720" cy="0"/>
            </a:xfrm>
            <a:prstGeom prst="straightConnector1">
              <a:avLst/>
            </a:prstGeom>
            <a:noFill/>
            <a:ln w="12700" cap="flat" cmpd="sng" algn="ctr">
              <a:solidFill>
                <a:srgbClr val="E1698A"/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69" name="Rechteck 68">
              <a:extLst>
                <a:ext uri="{FF2B5EF4-FFF2-40B4-BE49-F238E27FC236}">
                  <a16:creationId xmlns:a16="http://schemas.microsoft.com/office/drawing/2014/main" id="{38516A6A-DB82-4DAB-868A-5E15DFADC16C}"/>
                </a:ext>
              </a:extLst>
            </p:cNvPr>
            <p:cNvSpPr/>
            <p:nvPr/>
          </p:nvSpPr>
          <p:spPr>
            <a:xfrm>
              <a:off x="504627" y="2821019"/>
              <a:ext cx="1737975" cy="603250"/>
            </a:xfrm>
            <a:prstGeom prst="rect">
              <a:avLst/>
            </a:prstGeom>
            <a:noFill/>
            <a:ln w="12700" cap="flat" cmpd="sng" algn="ctr">
              <a:solidFill>
                <a:schemeClr val="accent2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Times New Roman" panose="02020603050405020304" pitchFamily="18" charset="0"/>
                </a:rPr>
                <a:t>Network</a:t>
              </a:r>
              <a:b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Times New Roman" panose="02020603050405020304" pitchFamily="18" charset="0"/>
                </a:rPr>
              </a:b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Times New Roman" panose="02020603050405020304" pitchFamily="18" charset="0"/>
                </a:rPr>
                <a:t>(local mgmt.)</a:t>
              </a:r>
            </a:p>
          </p:txBody>
        </p:sp>
        <p:sp>
          <p:nvSpPr>
            <p:cNvPr id="70" name="Rechteck 69">
              <a:extLst>
                <a:ext uri="{FF2B5EF4-FFF2-40B4-BE49-F238E27FC236}">
                  <a16:creationId xmlns:a16="http://schemas.microsoft.com/office/drawing/2014/main" id="{6D47E1A5-E2D4-4B78-8BE5-281A0C20BD90}"/>
                </a:ext>
              </a:extLst>
            </p:cNvPr>
            <p:cNvSpPr/>
            <p:nvPr/>
          </p:nvSpPr>
          <p:spPr>
            <a:xfrm>
              <a:off x="2637322" y="2821019"/>
              <a:ext cx="678038" cy="603250"/>
            </a:xfrm>
            <a:prstGeom prst="rect">
              <a:avLst/>
            </a:prstGeom>
            <a:noFill/>
            <a:ln w="12700" cap="flat" cmpd="sng" algn="ctr">
              <a:solidFill>
                <a:srgbClr val="001035"/>
              </a:solidFill>
              <a:prstDash val="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1035"/>
                </a:solidFill>
                <a:effectLst/>
                <a:uLnTx/>
                <a:uFillTx/>
                <a:latin typeface="Arial" panose="020B0604020202020204"/>
                <a:ea typeface="+mn-ea"/>
                <a:cs typeface="Times New Roman" panose="02020603050405020304" pitchFamily="18" charset="0"/>
              </a:endParaRPr>
            </a:p>
          </p:txBody>
        </p:sp>
        <p:pic>
          <p:nvPicPr>
            <p:cNvPr id="71" name="Grafik 70" descr="Drahtlosrouter Silhouette">
              <a:extLst>
                <a:ext uri="{FF2B5EF4-FFF2-40B4-BE49-F238E27FC236}">
                  <a16:creationId xmlns:a16="http://schemas.microsoft.com/office/drawing/2014/main" id="{57CC1C7C-6714-45D2-946C-ADA4CDA3068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1656800" y="2838758"/>
              <a:ext cx="567771" cy="567771"/>
            </a:xfrm>
            <a:prstGeom prst="rect">
              <a:avLst/>
            </a:prstGeom>
          </p:spPr>
        </p:pic>
        <p:pic>
          <p:nvPicPr>
            <p:cNvPr id="72" name="Grafik 71" descr="Drahtlosrouter Silhouette">
              <a:extLst>
                <a:ext uri="{FF2B5EF4-FFF2-40B4-BE49-F238E27FC236}">
                  <a16:creationId xmlns:a16="http://schemas.microsoft.com/office/drawing/2014/main" id="{D3D42BD3-EB32-414B-9D52-467027971D3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2692455" y="2838758"/>
              <a:ext cx="567771" cy="567771"/>
            </a:xfrm>
            <a:prstGeom prst="rect">
              <a:avLst/>
            </a:prstGeom>
          </p:spPr>
        </p:pic>
        <p:cxnSp>
          <p:nvCxnSpPr>
            <p:cNvPr id="73" name="Gerade Verbindung mit Pfeil 72">
              <a:extLst>
                <a:ext uri="{FF2B5EF4-FFF2-40B4-BE49-F238E27FC236}">
                  <a16:creationId xmlns:a16="http://schemas.microsoft.com/office/drawing/2014/main" id="{347BB79A-03AB-441B-9331-0CF28A9FC74C}"/>
                </a:ext>
              </a:extLst>
            </p:cNvPr>
            <p:cNvCxnSpPr>
              <a:cxnSpLocks/>
              <a:stCxn id="69" idx="3"/>
              <a:endCxn id="70" idx="1"/>
            </p:cNvCxnSpPr>
            <p:nvPr/>
          </p:nvCxnSpPr>
          <p:spPr>
            <a:xfrm>
              <a:off x="2242602" y="3122644"/>
              <a:ext cx="394720" cy="0"/>
            </a:xfrm>
            <a:prstGeom prst="straightConnector1">
              <a:avLst/>
            </a:prstGeom>
            <a:noFill/>
            <a:ln w="12700" cap="flat" cmpd="sng" algn="ctr">
              <a:solidFill>
                <a:srgbClr val="E1698A"/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74" name="Rechteck 73">
              <a:extLst>
                <a:ext uri="{FF2B5EF4-FFF2-40B4-BE49-F238E27FC236}">
                  <a16:creationId xmlns:a16="http://schemas.microsoft.com/office/drawing/2014/main" id="{9FA660D6-A591-4D4B-AE3E-0F793724AF46}"/>
                </a:ext>
              </a:extLst>
            </p:cNvPr>
            <p:cNvSpPr/>
            <p:nvPr/>
          </p:nvSpPr>
          <p:spPr>
            <a:xfrm>
              <a:off x="504627" y="3555826"/>
              <a:ext cx="1737975" cy="603250"/>
            </a:xfrm>
            <a:prstGeom prst="rect">
              <a:avLst/>
            </a:prstGeom>
            <a:noFill/>
            <a:ln w="12700" cap="flat" cmpd="sng" algn="ctr">
              <a:solidFill>
                <a:schemeClr val="accent2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Times New Roman" panose="02020603050405020304" pitchFamily="18" charset="0"/>
                </a:rPr>
                <a:t>Machinery</a:t>
              </a:r>
            </a:p>
          </p:txBody>
        </p:sp>
        <p:sp>
          <p:nvSpPr>
            <p:cNvPr id="75" name="Rechteck 74">
              <a:extLst>
                <a:ext uri="{FF2B5EF4-FFF2-40B4-BE49-F238E27FC236}">
                  <a16:creationId xmlns:a16="http://schemas.microsoft.com/office/drawing/2014/main" id="{6176FC74-2234-48D9-927F-F106C860608F}"/>
                </a:ext>
              </a:extLst>
            </p:cNvPr>
            <p:cNvSpPr/>
            <p:nvPr/>
          </p:nvSpPr>
          <p:spPr>
            <a:xfrm>
              <a:off x="2637322" y="3555826"/>
              <a:ext cx="678038" cy="603250"/>
            </a:xfrm>
            <a:prstGeom prst="rect">
              <a:avLst/>
            </a:prstGeom>
            <a:noFill/>
            <a:ln w="12700" cap="flat" cmpd="sng" algn="ctr">
              <a:solidFill>
                <a:srgbClr val="001035"/>
              </a:solidFill>
              <a:prstDash val="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1035"/>
                </a:solidFill>
                <a:effectLst/>
                <a:uLnTx/>
                <a:uFillTx/>
                <a:latin typeface="Arial" panose="020B0604020202020204"/>
                <a:ea typeface="+mn-ea"/>
                <a:cs typeface="Times New Roman" panose="02020603050405020304" pitchFamily="18" charset="0"/>
              </a:endParaRPr>
            </a:p>
          </p:txBody>
        </p:sp>
        <p:pic>
          <p:nvPicPr>
            <p:cNvPr id="76" name="Grafik 75" descr="Roboterhand Silhouette">
              <a:extLst>
                <a:ext uri="{FF2B5EF4-FFF2-40B4-BE49-F238E27FC236}">
                  <a16:creationId xmlns:a16="http://schemas.microsoft.com/office/drawing/2014/main" id="{03FD5034-F8F9-4DEF-897E-B2DCB6554F4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/>
          </p:blipFill>
          <p:spPr>
            <a:xfrm>
              <a:off x="1656800" y="3573565"/>
              <a:ext cx="567771" cy="567771"/>
            </a:xfrm>
            <a:prstGeom prst="rect">
              <a:avLst/>
            </a:prstGeom>
          </p:spPr>
        </p:pic>
        <p:pic>
          <p:nvPicPr>
            <p:cNvPr id="77" name="Grafik 76" descr="Roboterhand Silhouette">
              <a:extLst>
                <a:ext uri="{FF2B5EF4-FFF2-40B4-BE49-F238E27FC236}">
                  <a16:creationId xmlns:a16="http://schemas.microsoft.com/office/drawing/2014/main" id="{0C5A3E7D-4C16-4EC5-B5BB-D14B32A9A271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/>
            <a:stretch/>
          </p:blipFill>
          <p:spPr>
            <a:xfrm>
              <a:off x="2692455" y="3573565"/>
              <a:ext cx="567771" cy="567771"/>
            </a:xfrm>
            <a:prstGeom prst="rect">
              <a:avLst/>
            </a:prstGeom>
          </p:spPr>
        </p:pic>
        <p:cxnSp>
          <p:nvCxnSpPr>
            <p:cNvPr id="78" name="Gerade Verbindung mit Pfeil 77">
              <a:extLst>
                <a:ext uri="{FF2B5EF4-FFF2-40B4-BE49-F238E27FC236}">
                  <a16:creationId xmlns:a16="http://schemas.microsoft.com/office/drawing/2014/main" id="{A5DB7864-E2BA-4492-8223-F68CDD747D38}"/>
                </a:ext>
              </a:extLst>
            </p:cNvPr>
            <p:cNvCxnSpPr>
              <a:cxnSpLocks/>
              <a:stCxn id="74" idx="3"/>
              <a:endCxn id="75" idx="1"/>
            </p:cNvCxnSpPr>
            <p:nvPr/>
          </p:nvCxnSpPr>
          <p:spPr>
            <a:xfrm>
              <a:off x="2242602" y="3857451"/>
              <a:ext cx="394720" cy="0"/>
            </a:xfrm>
            <a:prstGeom prst="straightConnector1">
              <a:avLst/>
            </a:prstGeom>
            <a:noFill/>
            <a:ln w="12700" cap="flat" cmpd="sng" algn="ctr">
              <a:solidFill>
                <a:srgbClr val="E1698A"/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79" name="Pfeil: nach links und rechts 78">
              <a:extLst>
                <a:ext uri="{FF2B5EF4-FFF2-40B4-BE49-F238E27FC236}">
                  <a16:creationId xmlns:a16="http://schemas.microsoft.com/office/drawing/2014/main" id="{DA1E8DC1-C14A-40E9-96E8-0B3AD7ADEFEE}"/>
                </a:ext>
              </a:extLst>
            </p:cNvPr>
            <p:cNvSpPr/>
            <p:nvPr/>
          </p:nvSpPr>
          <p:spPr>
            <a:xfrm>
              <a:off x="3408065" y="2236745"/>
              <a:ext cx="426254" cy="300919"/>
            </a:xfrm>
            <a:prstGeom prst="leftRightArrow">
              <a:avLst/>
            </a:prstGeom>
            <a:solidFill>
              <a:srgbClr val="00103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0" name="Pfeil: nach links und rechts 79">
              <a:extLst>
                <a:ext uri="{FF2B5EF4-FFF2-40B4-BE49-F238E27FC236}">
                  <a16:creationId xmlns:a16="http://schemas.microsoft.com/office/drawing/2014/main" id="{A45DE2B2-F387-47A7-BC3F-68365F989C76}"/>
                </a:ext>
              </a:extLst>
            </p:cNvPr>
            <p:cNvSpPr/>
            <p:nvPr/>
          </p:nvSpPr>
          <p:spPr>
            <a:xfrm>
              <a:off x="3408065" y="2968932"/>
              <a:ext cx="426254" cy="300919"/>
            </a:xfrm>
            <a:prstGeom prst="leftRightArrow">
              <a:avLst/>
            </a:prstGeom>
            <a:solidFill>
              <a:srgbClr val="00103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1" name="Pfeil: nach links und rechts 80">
              <a:extLst>
                <a:ext uri="{FF2B5EF4-FFF2-40B4-BE49-F238E27FC236}">
                  <a16:creationId xmlns:a16="http://schemas.microsoft.com/office/drawing/2014/main" id="{ADDB747A-2B83-4D98-A3CB-A5AB7E30E4A3}"/>
                </a:ext>
              </a:extLst>
            </p:cNvPr>
            <p:cNvSpPr/>
            <p:nvPr/>
          </p:nvSpPr>
          <p:spPr>
            <a:xfrm>
              <a:off x="3402670" y="3703248"/>
              <a:ext cx="426254" cy="300919"/>
            </a:xfrm>
            <a:prstGeom prst="leftRightArrow">
              <a:avLst/>
            </a:prstGeom>
            <a:solidFill>
              <a:srgbClr val="00103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5" name="Textfeld 84">
              <a:extLst>
                <a:ext uri="{FF2B5EF4-FFF2-40B4-BE49-F238E27FC236}">
                  <a16:creationId xmlns:a16="http://schemas.microsoft.com/office/drawing/2014/main" id="{D296B841-FEAE-4E68-9BD4-DE9BFBA6B9B9}"/>
                </a:ext>
              </a:extLst>
            </p:cNvPr>
            <p:cNvSpPr txBox="1"/>
            <p:nvPr/>
          </p:nvSpPr>
          <p:spPr>
            <a:xfrm>
              <a:off x="5935445" y="3488556"/>
              <a:ext cx="3228160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Novel HMIs for mobile human-machine interaction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Bringing the human in the loop </a:t>
              </a:r>
            </a:p>
          </p:txBody>
        </p:sp>
        <p:sp>
          <p:nvSpPr>
            <p:cNvPr id="86" name="Textfeld 85">
              <a:extLst>
                <a:ext uri="{FF2B5EF4-FFF2-40B4-BE49-F238E27FC236}">
                  <a16:creationId xmlns:a16="http://schemas.microsoft.com/office/drawing/2014/main" id="{9312D88F-386B-4EE7-B9C5-9C520B650BF8}"/>
                </a:ext>
              </a:extLst>
            </p:cNvPr>
            <p:cNvSpPr txBox="1"/>
            <p:nvPr/>
          </p:nvSpPr>
          <p:spPr>
            <a:xfrm>
              <a:off x="5935444" y="2764617"/>
              <a:ext cx="3228161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Impact of </a:t>
              </a:r>
              <a:r>
                <a:rPr kumimoji="0" lang="en-US" sz="1400" b="0" i="0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human presence </a:t>
              </a: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on industrial deployments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Network-aware DTs for local insights</a:t>
              </a:r>
              <a:endParaRPr kumimoji="0" lang="de-DE" sz="14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endParaRPr>
            </a:p>
          </p:txBody>
        </p:sp>
        <p:sp>
          <p:nvSpPr>
            <p:cNvPr id="87" name="Textfeld 86">
              <a:extLst>
                <a:ext uri="{FF2B5EF4-FFF2-40B4-BE49-F238E27FC236}">
                  <a16:creationId xmlns:a16="http://schemas.microsoft.com/office/drawing/2014/main" id="{D30606AE-7A95-4BB0-991B-A3CF9DE3B34E}"/>
                </a:ext>
              </a:extLst>
            </p:cNvPr>
            <p:cNvSpPr txBox="1"/>
            <p:nvPr/>
          </p:nvSpPr>
          <p:spPr>
            <a:xfrm>
              <a:off x="5935443" y="2110354"/>
              <a:ext cx="372259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DT empowered collaborative robots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DTs for emergent intelligence</a:t>
              </a:r>
            </a:p>
          </p:txBody>
        </p:sp>
        <p:cxnSp>
          <p:nvCxnSpPr>
            <p:cNvPr id="88" name="Gerader Verbinder 87">
              <a:extLst>
                <a:ext uri="{FF2B5EF4-FFF2-40B4-BE49-F238E27FC236}">
                  <a16:creationId xmlns:a16="http://schemas.microsoft.com/office/drawing/2014/main" id="{A96619AF-0516-4D31-BFAD-11FE16621ED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3018" y="3127828"/>
              <a:ext cx="489708" cy="1"/>
            </a:xfrm>
            <a:prstGeom prst="line">
              <a:avLst/>
            </a:prstGeom>
            <a:noFill/>
            <a:ln w="6350" cap="flat" cmpd="sng" algn="ctr">
              <a:solidFill>
                <a:srgbClr val="E1698A"/>
              </a:solidFill>
              <a:prstDash val="solid"/>
              <a:miter lim="800000"/>
            </a:ln>
            <a:effectLst/>
          </p:spPr>
        </p:cxnSp>
        <p:cxnSp>
          <p:nvCxnSpPr>
            <p:cNvPr id="89" name="Gerader Verbinder 88">
              <a:extLst>
                <a:ext uri="{FF2B5EF4-FFF2-40B4-BE49-F238E27FC236}">
                  <a16:creationId xmlns:a16="http://schemas.microsoft.com/office/drawing/2014/main" id="{DEA02C49-33B8-499A-92CC-19D029B2D389}"/>
                </a:ext>
              </a:extLst>
            </p:cNvPr>
            <p:cNvCxnSpPr>
              <a:cxnSpLocks/>
            </p:cNvCxnSpPr>
            <p:nvPr/>
          </p:nvCxnSpPr>
          <p:spPr>
            <a:xfrm>
              <a:off x="5423018" y="2375955"/>
              <a:ext cx="512426" cy="0"/>
            </a:xfrm>
            <a:prstGeom prst="line">
              <a:avLst/>
            </a:prstGeom>
            <a:noFill/>
            <a:ln w="6350" cap="flat" cmpd="sng" algn="ctr">
              <a:solidFill>
                <a:srgbClr val="E1698A"/>
              </a:solidFill>
              <a:prstDash val="solid"/>
              <a:miter lim="800000"/>
            </a:ln>
            <a:effectLst/>
          </p:spPr>
        </p:cxnSp>
        <p:sp>
          <p:nvSpPr>
            <p:cNvPr id="91" name="Textfeld 90">
              <a:extLst>
                <a:ext uri="{FF2B5EF4-FFF2-40B4-BE49-F238E27FC236}">
                  <a16:creationId xmlns:a16="http://schemas.microsoft.com/office/drawing/2014/main" id="{38BF9830-CC1F-40D0-BF9B-E8F5C5C4AE1E}"/>
                </a:ext>
              </a:extLst>
            </p:cNvPr>
            <p:cNvSpPr txBox="1"/>
            <p:nvPr/>
          </p:nvSpPr>
          <p:spPr>
            <a:xfrm>
              <a:off x="5935444" y="1726585"/>
              <a:ext cx="144943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E1698A"/>
                  </a:solidFill>
                  <a:effectLst/>
                  <a:uLnTx/>
                  <a:uFillTx/>
                </a:rPr>
                <a:t>Focus topics</a:t>
              </a:r>
            </a:p>
          </p:txBody>
        </p:sp>
        <p:cxnSp>
          <p:nvCxnSpPr>
            <p:cNvPr id="92" name="Gerader Verbinder 91">
              <a:extLst>
                <a:ext uri="{FF2B5EF4-FFF2-40B4-BE49-F238E27FC236}">
                  <a16:creationId xmlns:a16="http://schemas.microsoft.com/office/drawing/2014/main" id="{4B12E25F-9B51-4D13-A92C-0C228D157D1B}"/>
                </a:ext>
              </a:extLst>
            </p:cNvPr>
            <p:cNvCxnSpPr>
              <a:cxnSpLocks/>
            </p:cNvCxnSpPr>
            <p:nvPr/>
          </p:nvCxnSpPr>
          <p:spPr>
            <a:xfrm>
              <a:off x="5423018" y="3853707"/>
              <a:ext cx="512426" cy="0"/>
            </a:xfrm>
            <a:prstGeom prst="line">
              <a:avLst/>
            </a:prstGeom>
            <a:noFill/>
            <a:ln w="6350" cap="flat" cmpd="sng" algn="ctr">
              <a:solidFill>
                <a:srgbClr val="E1698A"/>
              </a:solidFill>
              <a:prstDash val="solid"/>
              <a:miter lim="800000"/>
            </a:ln>
            <a:effectLst/>
          </p:spPr>
        </p:cxnSp>
      </p:grpSp>
      <p:sp>
        <p:nvSpPr>
          <p:cNvPr id="7" name="Ellipse 6">
            <a:extLst>
              <a:ext uri="{FF2B5EF4-FFF2-40B4-BE49-F238E27FC236}">
                <a16:creationId xmlns:a16="http://schemas.microsoft.com/office/drawing/2014/main" id="{6A75DEAA-75BB-40AC-B7D2-AFB092943793}"/>
              </a:ext>
            </a:extLst>
          </p:cNvPr>
          <p:cNvSpPr/>
          <p:nvPr/>
        </p:nvSpPr>
        <p:spPr>
          <a:xfrm>
            <a:off x="5752012" y="1941990"/>
            <a:ext cx="346600" cy="346600"/>
          </a:xfrm>
          <a:prstGeom prst="ellipse">
            <a:avLst/>
          </a:prstGeom>
          <a:solidFill>
            <a:schemeClr val="bg2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100" b="1"/>
              <a:t>WP4</a:t>
            </a:r>
          </a:p>
        </p:txBody>
      </p:sp>
      <p:sp>
        <p:nvSpPr>
          <p:cNvPr id="93" name="Ellipse 92">
            <a:extLst>
              <a:ext uri="{FF2B5EF4-FFF2-40B4-BE49-F238E27FC236}">
                <a16:creationId xmlns:a16="http://schemas.microsoft.com/office/drawing/2014/main" id="{4E19F4CB-A3B0-4953-86F2-B4049B53320E}"/>
              </a:ext>
            </a:extLst>
          </p:cNvPr>
          <p:cNvSpPr/>
          <p:nvPr/>
        </p:nvSpPr>
        <p:spPr>
          <a:xfrm>
            <a:off x="5763918" y="3943443"/>
            <a:ext cx="346600" cy="346600"/>
          </a:xfrm>
          <a:prstGeom prst="ellipse">
            <a:avLst/>
          </a:prstGeom>
          <a:solidFill>
            <a:schemeClr val="bg2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100" b="1"/>
              <a:t>WP3</a:t>
            </a:r>
          </a:p>
        </p:txBody>
      </p:sp>
      <p:sp>
        <p:nvSpPr>
          <p:cNvPr id="108" name="Textfeld 107" hidden="1">
            <a:extLst>
              <a:ext uri="{FF2B5EF4-FFF2-40B4-BE49-F238E27FC236}">
                <a16:creationId xmlns:a16="http://schemas.microsoft.com/office/drawing/2014/main" id="{B02AB9C3-1C6E-4D75-BB8F-84BFCA912090}"/>
              </a:ext>
            </a:extLst>
          </p:cNvPr>
          <p:cNvSpPr txBox="1"/>
          <p:nvPr/>
        </p:nvSpPr>
        <p:spPr>
          <a:xfrm>
            <a:off x="0" y="5960333"/>
            <a:ext cx="6819609" cy="674200"/>
          </a:xfrm>
          <a:prstGeom prst="rect">
            <a:avLst/>
          </a:prstGeom>
          <a:solidFill>
            <a:srgbClr val="003D75"/>
          </a:solidFill>
        </p:spPr>
        <p:txBody>
          <a:bodyPr wrap="square" lIns="360000" tIns="72000" rIns="144000" bIns="108000" rtlCol="0" anchor="b" anchorCtr="0">
            <a:spAutoFit/>
          </a:bodyPr>
          <a:lstStyle/>
          <a:p>
            <a:pPr>
              <a:spcAft>
                <a:spcPts val="2000"/>
              </a:spcAft>
            </a:pPr>
            <a:r>
              <a:rPr lang="en-US" sz="1600" b="1">
                <a:solidFill>
                  <a:schemeClr val="accent4"/>
                </a:solidFill>
              </a:rPr>
              <a:t>Related measurable result for project objective 4:</a:t>
            </a:r>
            <a:br>
              <a:rPr lang="en-US" sz="1600" b="1">
                <a:solidFill>
                  <a:schemeClr val="accent4"/>
                </a:solidFill>
              </a:rPr>
            </a:br>
            <a:r>
              <a:rPr lang="en-US" sz="1600"/>
              <a:t>Enablers for Human-Machine-Interaction (HMI) and Digital Twins (DT)</a:t>
            </a:r>
          </a:p>
        </p:txBody>
      </p:sp>
      <p:pic>
        <p:nvPicPr>
          <p:cNvPr id="111" name="Grafik 110" descr="Zahnräder Silhouette">
            <a:extLst>
              <a:ext uri="{FF2B5EF4-FFF2-40B4-BE49-F238E27FC236}">
                <a16:creationId xmlns:a16="http://schemas.microsoft.com/office/drawing/2014/main" id="{98DCEBD8-CC19-4C2A-A0EA-7D5E2141BAEF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2159902" y="4892353"/>
            <a:ext cx="914400" cy="914400"/>
          </a:xfrm>
          <a:prstGeom prst="rect">
            <a:avLst/>
          </a:prstGeom>
        </p:spPr>
      </p:pic>
      <p:cxnSp>
        <p:nvCxnSpPr>
          <p:cNvPr id="113" name="Verbinder: gewinkelt 112">
            <a:extLst>
              <a:ext uri="{FF2B5EF4-FFF2-40B4-BE49-F238E27FC236}">
                <a16:creationId xmlns:a16="http://schemas.microsoft.com/office/drawing/2014/main" id="{AEC1CDFF-6BC1-416F-B78A-9234067879B7}"/>
              </a:ext>
            </a:extLst>
          </p:cNvPr>
          <p:cNvCxnSpPr>
            <a:stCxn id="60" idx="2"/>
            <a:endCxn id="111" idx="3"/>
          </p:cNvCxnSpPr>
          <p:nvPr/>
        </p:nvCxnSpPr>
        <p:spPr>
          <a:xfrm rot="5400000">
            <a:off x="2930741" y="4795105"/>
            <a:ext cx="698010" cy="410887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Verbinder: gewinkelt 113">
            <a:extLst>
              <a:ext uri="{FF2B5EF4-FFF2-40B4-BE49-F238E27FC236}">
                <a16:creationId xmlns:a16="http://schemas.microsoft.com/office/drawing/2014/main" id="{443DB871-309A-4717-B608-C87EA679D6A2}"/>
              </a:ext>
            </a:extLst>
          </p:cNvPr>
          <p:cNvCxnSpPr>
            <a:cxnSpLocks/>
            <a:stCxn id="111" idx="1"/>
            <a:endCxn id="74" idx="1"/>
          </p:cNvCxnSpPr>
          <p:nvPr/>
        </p:nvCxnSpPr>
        <p:spPr>
          <a:xfrm rot="10800000">
            <a:off x="1007730" y="3852645"/>
            <a:ext cx="1152173" cy="1496908"/>
          </a:xfrm>
          <a:prstGeom prst="bentConnector3">
            <a:avLst>
              <a:gd name="adj1" fmla="val 119841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Verbinder: gewinkelt 117">
            <a:extLst>
              <a:ext uri="{FF2B5EF4-FFF2-40B4-BE49-F238E27FC236}">
                <a16:creationId xmlns:a16="http://schemas.microsoft.com/office/drawing/2014/main" id="{B1FCA41D-99B1-44A5-B50B-4FAF9E0D0FFD}"/>
              </a:ext>
            </a:extLst>
          </p:cNvPr>
          <p:cNvCxnSpPr>
            <a:cxnSpLocks/>
            <a:stCxn id="111" idx="1"/>
            <a:endCxn id="69" idx="1"/>
          </p:cNvCxnSpPr>
          <p:nvPr/>
        </p:nvCxnSpPr>
        <p:spPr>
          <a:xfrm rot="10800000">
            <a:off x="1007730" y="3117839"/>
            <a:ext cx="1152173" cy="2231715"/>
          </a:xfrm>
          <a:prstGeom prst="bentConnector3">
            <a:avLst>
              <a:gd name="adj1" fmla="val 119841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Verbinder: gewinkelt 120">
            <a:extLst>
              <a:ext uri="{FF2B5EF4-FFF2-40B4-BE49-F238E27FC236}">
                <a16:creationId xmlns:a16="http://schemas.microsoft.com/office/drawing/2014/main" id="{A932FF1E-8606-4BED-BEEB-4244CEA3EF7A}"/>
              </a:ext>
            </a:extLst>
          </p:cNvPr>
          <p:cNvCxnSpPr>
            <a:cxnSpLocks/>
            <a:stCxn id="111" idx="1"/>
            <a:endCxn id="64" idx="1"/>
          </p:cNvCxnSpPr>
          <p:nvPr/>
        </p:nvCxnSpPr>
        <p:spPr>
          <a:xfrm rot="10800000">
            <a:off x="1007730" y="2383031"/>
            <a:ext cx="1152173" cy="2966523"/>
          </a:xfrm>
          <a:prstGeom prst="bentConnector3">
            <a:avLst>
              <a:gd name="adj1" fmla="val 119841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0" name="Gruppieren 149">
            <a:extLst>
              <a:ext uri="{FF2B5EF4-FFF2-40B4-BE49-F238E27FC236}">
                <a16:creationId xmlns:a16="http://schemas.microsoft.com/office/drawing/2014/main" id="{A1F93D14-14E7-4121-93E7-877A5FC7DB7A}"/>
              </a:ext>
            </a:extLst>
          </p:cNvPr>
          <p:cNvGrpSpPr/>
          <p:nvPr/>
        </p:nvGrpSpPr>
        <p:grpSpPr>
          <a:xfrm>
            <a:off x="2260664" y="4285849"/>
            <a:ext cx="884945" cy="630499"/>
            <a:chOff x="4182584" y="4806644"/>
            <a:chExt cx="884945" cy="630499"/>
          </a:xfrm>
        </p:grpSpPr>
        <p:sp>
          <p:nvSpPr>
            <p:cNvPr id="148" name="Ellipse 147">
              <a:extLst>
                <a:ext uri="{FF2B5EF4-FFF2-40B4-BE49-F238E27FC236}">
                  <a16:creationId xmlns:a16="http://schemas.microsoft.com/office/drawing/2014/main" id="{ABEBA6E3-CF5D-48BD-9AF5-9E27ED988E4D}"/>
                </a:ext>
              </a:extLst>
            </p:cNvPr>
            <p:cNvSpPr/>
            <p:nvPr/>
          </p:nvSpPr>
          <p:spPr>
            <a:xfrm>
              <a:off x="4454680" y="4806644"/>
              <a:ext cx="346600" cy="346600"/>
            </a:xfrm>
            <a:prstGeom prst="ellipse">
              <a:avLst/>
            </a:prstGeom>
            <a:solidFill>
              <a:schemeClr val="bg2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sz="1100" b="1"/>
                <a:t>WP1</a:t>
              </a:r>
            </a:p>
          </p:txBody>
        </p:sp>
        <p:sp>
          <p:nvSpPr>
            <p:cNvPr id="149" name="Textfeld 148">
              <a:extLst>
                <a:ext uri="{FF2B5EF4-FFF2-40B4-BE49-F238E27FC236}">
                  <a16:creationId xmlns:a16="http://schemas.microsoft.com/office/drawing/2014/main" id="{43F0AE51-96CA-4AAF-973A-89EB5AC4E896}"/>
                </a:ext>
              </a:extLst>
            </p:cNvPr>
            <p:cNvSpPr txBox="1"/>
            <p:nvPr/>
          </p:nvSpPr>
          <p:spPr>
            <a:xfrm>
              <a:off x="4182584" y="5160144"/>
              <a:ext cx="88494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</a:rPr>
                <a:t>Security</a:t>
              </a:r>
            </a:p>
          </p:txBody>
        </p:sp>
      </p:grpSp>
      <p:sp>
        <p:nvSpPr>
          <p:cNvPr id="151" name="Textfeld 150">
            <a:extLst>
              <a:ext uri="{FF2B5EF4-FFF2-40B4-BE49-F238E27FC236}">
                <a16:creationId xmlns:a16="http://schemas.microsoft.com/office/drawing/2014/main" id="{781CE022-F77B-41F3-A920-6956CD092476}"/>
              </a:ext>
            </a:extLst>
          </p:cNvPr>
          <p:cNvSpPr txBox="1"/>
          <p:nvPr/>
        </p:nvSpPr>
        <p:spPr>
          <a:xfrm>
            <a:off x="1304248" y="5330557"/>
            <a:ext cx="10310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>
                <a:solidFill>
                  <a:schemeClr val="accent1"/>
                </a:solidFill>
                <a:sym typeface="Wingdings" panose="05000000000000000000" pitchFamily="2" charset="2"/>
              </a:rPr>
              <a:t> resource </a:t>
            </a:r>
            <a:br>
              <a:rPr lang="en-US" sz="1200">
                <a:solidFill>
                  <a:schemeClr val="accent1"/>
                </a:solidFill>
                <a:sym typeface="Wingdings" panose="05000000000000000000" pitchFamily="2" charset="2"/>
              </a:rPr>
            </a:br>
            <a:r>
              <a:rPr lang="en-US" sz="1200">
                <a:solidFill>
                  <a:schemeClr val="accent1"/>
                </a:solidFill>
                <a:sym typeface="Wingdings" panose="05000000000000000000" pitchFamily="2" charset="2"/>
              </a:rPr>
              <a:t>allocation</a:t>
            </a:r>
            <a:endParaRPr lang="en-US" sz="1200">
              <a:solidFill>
                <a:schemeClr val="accent1"/>
              </a:solidFill>
            </a:endParaRPr>
          </a:p>
        </p:txBody>
      </p:sp>
      <p:pic>
        <p:nvPicPr>
          <p:cNvPr id="157" name="Grafik 156" descr="Universeller Zugriff Silhouette">
            <a:extLst>
              <a:ext uri="{FF2B5EF4-FFF2-40B4-BE49-F238E27FC236}">
                <a16:creationId xmlns:a16="http://schemas.microsoft.com/office/drawing/2014/main" id="{9487A8F5-0A4C-491C-87C5-2892C133A5F2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809061" y="3998669"/>
            <a:ext cx="914400" cy="914400"/>
          </a:xfrm>
          <a:prstGeom prst="rect">
            <a:avLst/>
          </a:prstGeom>
        </p:spPr>
      </p:pic>
      <p:cxnSp>
        <p:nvCxnSpPr>
          <p:cNvPr id="160" name="Verbinder: gewinkelt 159">
            <a:extLst>
              <a:ext uri="{FF2B5EF4-FFF2-40B4-BE49-F238E27FC236}">
                <a16:creationId xmlns:a16="http://schemas.microsoft.com/office/drawing/2014/main" id="{8E5B9168-3D5E-494C-99F9-281C808DC71D}"/>
              </a:ext>
            </a:extLst>
          </p:cNvPr>
          <p:cNvCxnSpPr>
            <a:stCxn id="157" idx="1"/>
          </p:cNvCxnSpPr>
          <p:nvPr/>
        </p:nvCxnSpPr>
        <p:spPr>
          <a:xfrm rot="10800000">
            <a:off x="4615909" y="4085239"/>
            <a:ext cx="193153" cy="370631"/>
          </a:xfrm>
          <a:prstGeom prst="bentConnector2">
            <a:avLst/>
          </a:prstGeom>
          <a:ln w="28575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2" name="Εικόνα 5">
            <a:extLst>
              <a:ext uri="{FF2B5EF4-FFF2-40B4-BE49-F238E27FC236}">
                <a16:creationId xmlns:a16="http://schemas.microsoft.com/office/drawing/2014/main" id="{932EA548-B9A3-4DB5-AEDB-E7F5B037F6D5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273804" y="4322895"/>
            <a:ext cx="2405456" cy="1793900"/>
          </a:xfrm>
          <a:prstGeom prst="rect">
            <a:avLst/>
          </a:prstGeom>
          <a:ln w="38100">
            <a:solidFill>
              <a:schemeClr val="bg2"/>
            </a:solidFill>
          </a:ln>
        </p:spPr>
      </p:pic>
      <p:pic>
        <p:nvPicPr>
          <p:cNvPr id="82" name="Grafik 81" descr="Künstliche Intelligenz mit einfarbiger Füllung">
            <a:extLst>
              <a:ext uri="{FF2B5EF4-FFF2-40B4-BE49-F238E27FC236}">
                <a16:creationId xmlns:a16="http://schemas.microsoft.com/office/drawing/2014/main" id="{E914B78E-1DC3-414D-8230-D96908706028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 flipH="1">
            <a:off x="9605761" y="-186157"/>
            <a:ext cx="1217066" cy="1217066"/>
          </a:xfrm>
          <a:prstGeom prst="rect">
            <a:avLst/>
          </a:prstGeom>
        </p:spPr>
      </p:pic>
      <p:pic>
        <p:nvPicPr>
          <p:cNvPr id="83" name="Grafik 82" descr="Roboterhand mit einfarbiger Füllung">
            <a:extLst>
              <a:ext uri="{FF2B5EF4-FFF2-40B4-BE49-F238E27FC236}">
                <a16:creationId xmlns:a16="http://schemas.microsoft.com/office/drawing/2014/main" id="{1E5CBFC6-AD9D-4055-B063-621893BF105C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 flipH="1">
            <a:off x="8463030" y="-220915"/>
            <a:ext cx="1338773" cy="1338773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1CA320C1-D637-4291-B9ED-44DC4E8A10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29283" y="4322896"/>
            <a:ext cx="3197192" cy="1793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591849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4256859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EDA2E8E9-22AB-4AD1-9C82-3D348D05D6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b">
            <a:normAutofit/>
          </a:bodyPr>
          <a:lstStyle/>
          <a:p>
            <a:r>
              <a:rPr lang="en-US" dirty="0"/>
              <a:t>HMIs and digital twins</a:t>
            </a:r>
            <a:endParaRPr lang="en-US" b="0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0333122-4CB5-44EF-BDCB-FE8BCF4A18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515" y="1074822"/>
            <a:ext cx="11432964" cy="44981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b="1">
                <a:solidFill>
                  <a:schemeClr val="accent1"/>
                </a:solidFill>
              </a:rPr>
              <a:t>Ecosystem of collaborating DTs </a:t>
            </a:r>
            <a:r>
              <a:rPr lang="en-US">
                <a:solidFill>
                  <a:schemeClr val="accent1"/>
                </a:solidFill>
              </a:rPr>
              <a:t>in human-centric industrial environments</a:t>
            </a:r>
          </a:p>
        </p:txBody>
      </p:sp>
      <p:sp>
        <p:nvSpPr>
          <p:cNvPr id="108" name="Textfeld 107" hidden="1">
            <a:extLst>
              <a:ext uri="{FF2B5EF4-FFF2-40B4-BE49-F238E27FC236}">
                <a16:creationId xmlns:a16="http://schemas.microsoft.com/office/drawing/2014/main" id="{B02AB9C3-1C6E-4D75-BB8F-84BFCA912090}"/>
              </a:ext>
            </a:extLst>
          </p:cNvPr>
          <p:cNvSpPr txBox="1"/>
          <p:nvPr/>
        </p:nvSpPr>
        <p:spPr>
          <a:xfrm>
            <a:off x="0" y="5960333"/>
            <a:ext cx="6819609" cy="674200"/>
          </a:xfrm>
          <a:prstGeom prst="rect">
            <a:avLst/>
          </a:prstGeom>
          <a:solidFill>
            <a:srgbClr val="003D75"/>
          </a:solidFill>
        </p:spPr>
        <p:txBody>
          <a:bodyPr wrap="square" lIns="360000" tIns="72000" rIns="144000" bIns="108000" rtlCol="0" anchor="b" anchorCtr="0">
            <a:spAutoFit/>
          </a:bodyPr>
          <a:lstStyle/>
          <a:p>
            <a:pPr>
              <a:spcAft>
                <a:spcPts val="2000"/>
              </a:spcAft>
            </a:pPr>
            <a:r>
              <a:rPr lang="en-US" sz="1600" b="1">
                <a:solidFill>
                  <a:schemeClr val="accent4"/>
                </a:solidFill>
              </a:rPr>
              <a:t>Related measurable result for project objective 4:</a:t>
            </a:r>
            <a:br>
              <a:rPr lang="en-US" sz="1600" b="1">
                <a:solidFill>
                  <a:schemeClr val="accent4"/>
                </a:solidFill>
              </a:rPr>
            </a:br>
            <a:r>
              <a:rPr lang="en-US" sz="1600"/>
              <a:t>Enablers for Human-Machine-Interaction (HMI) and Digital Twins (DT)</a:t>
            </a:r>
          </a:p>
        </p:txBody>
      </p:sp>
      <p:pic>
        <p:nvPicPr>
          <p:cNvPr id="82" name="Grafik 81" descr="Künstliche Intelligenz mit einfarbiger Füllung">
            <a:extLst>
              <a:ext uri="{FF2B5EF4-FFF2-40B4-BE49-F238E27FC236}">
                <a16:creationId xmlns:a16="http://schemas.microsoft.com/office/drawing/2014/main" id="{E914B78E-1DC3-414D-8230-D9690870602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9605761" y="-186157"/>
            <a:ext cx="1217066" cy="1217066"/>
          </a:xfrm>
          <a:prstGeom prst="rect">
            <a:avLst/>
          </a:prstGeom>
        </p:spPr>
      </p:pic>
      <p:pic>
        <p:nvPicPr>
          <p:cNvPr id="83" name="Grafik 82" descr="Roboterhand mit einfarbiger Füllung">
            <a:extLst>
              <a:ext uri="{FF2B5EF4-FFF2-40B4-BE49-F238E27FC236}">
                <a16:creationId xmlns:a16="http://schemas.microsoft.com/office/drawing/2014/main" id="{1E5CBFC6-AD9D-4055-B063-621893BF105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8463030" y="-220915"/>
            <a:ext cx="1338773" cy="1338773"/>
          </a:xfrm>
          <a:prstGeom prst="rect">
            <a:avLst/>
          </a:prstGeom>
        </p:spPr>
      </p:pic>
      <p:pic>
        <p:nvPicPr>
          <p:cNvPr id="172" name="Grafik 171">
            <a:extLst>
              <a:ext uri="{FF2B5EF4-FFF2-40B4-BE49-F238E27FC236}">
                <a16:creationId xmlns:a16="http://schemas.microsoft.com/office/drawing/2014/main" id="{FAA5F5BA-30ED-79A4-59F7-44A68334539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26944" y="1642397"/>
            <a:ext cx="8338105" cy="4755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22702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A048BB51-97D6-4DA5-8C25-6FE3F70DB5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516" y="0"/>
            <a:ext cx="5289764" cy="1334122"/>
          </a:xfrm>
        </p:spPr>
        <p:txBody>
          <a:bodyPr>
            <a:normAutofit fontScale="90000"/>
          </a:bodyPr>
          <a:lstStyle/>
          <a:p>
            <a:r>
              <a:rPr lang="en-US" dirty="0"/>
              <a:t>Working Package 7:</a:t>
            </a:r>
            <a:br>
              <a:rPr lang="en-US" dirty="0"/>
            </a:br>
            <a:r>
              <a:rPr lang="en-US" dirty="0"/>
              <a:t>Mission and scope</a:t>
            </a:r>
            <a:br>
              <a:rPr lang="en-US" dirty="0"/>
            </a:br>
            <a:endParaRPr lang="en-US" dirty="0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DE8BB2C5-0BBF-4FE5-BDD0-478EF3CA1D15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WP7 studies enablers for</a:t>
            </a:r>
            <a:r>
              <a:rPr lang="en-US" b="1" dirty="0"/>
              <a:t> </a:t>
            </a:r>
            <a:br>
              <a:rPr lang="en-US" b="1" dirty="0"/>
            </a:br>
            <a:r>
              <a:rPr lang="en-US" b="1" dirty="0"/>
              <a:t>increased dependability </a:t>
            </a:r>
            <a:r>
              <a:rPr lang="en-US" dirty="0"/>
              <a:t>and</a:t>
            </a:r>
            <a:r>
              <a:rPr lang="en-US" b="1" dirty="0"/>
              <a:t> sustainable coverage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including </a:t>
            </a:r>
            <a:r>
              <a:rPr lang="en-US" b="1" dirty="0"/>
              <a:t>Digital Twins </a:t>
            </a:r>
            <a:r>
              <a:rPr lang="en-US" dirty="0"/>
              <a:t>and </a:t>
            </a:r>
            <a:r>
              <a:rPr lang="en-US" b="1" dirty="0"/>
              <a:t>novel HMIs </a:t>
            </a:r>
            <a:r>
              <a:rPr lang="en-US" dirty="0"/>
              <a:t>to enable extreme experiences</a:t>
            </a:r>
            <a:endParaRPr lang="en-US" b="1" dirty="0"/>
          </a:p>
          <a:p>
            <a:r>
              <a:rPr lang="en-US" dirty="0"/>
              <a:t>It contributes to the expansion and evolution of the network into new use cases and value chains</a:t>
            </a:r>
          </a:p>
          <a:p>
            <a:endParaRPr lang="en-US" dirty="0"/>
          </a:p>
          <a:p>
            <a:r>
              <a:rPr lang="en-US" dirty="0"/>
              <a:t>D7.1 contains results of the gap analysis and the technical work plan for WP7</a:t>
            </a:r>
          </a:p>
          <a:p>
            <a:r>
              <a:rPr lang="en-US" dirty="0"/>
              <a:t>D7.2 contains an overview of intermediate solutions and their relation to other Hexa-X technical enablers and KPIs/KVIs</a:t>
            </a:r>
          </a:p>
        </p:txBody>
      </p:sp>
      <p:pic>
        <p:nvPicPr>
          <p:cNvPr id="5" name="Inhaltsplatzhalter 6">
            <a:extLst>
              <a:ext uri="{FF2B5EF4-FFF2-40B4-BE49-F238E27FC236}">
                <a16:creationId xmlns:a16="http://schemas.microsoft.com/office/drawing/2014/main" id="{A4A379B2-3468-43F8-8088-4E533F835C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0600507">
            <a:off x="6096291" y="644855"/>
            <a:ext cx="3235208" cy="4612782"/>
          </a:xfrm>
          <a:prstGeom prst="rect">
            <a:avLst/>
          </a:prstGeom>
        </p:spPr>
      </p:pic>
      <p:pic>
        <p:nvPicPr>
          <p:cNvPr id="8" name="Inhaltsplatzhalter 6">
            <a:extLst>
              <a:ext uri="{FF2B5EF4-FFF2-40B4-BE49-F238E27FC236}">
                <a16:creationId xmlns:a16="http://schemas.microsoft.com/office/drawing/2014/main" id="{D9B32C58-B702-40A5-AE31-26FBF85D2B0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 rot="1551902">
            <a:off x="8763154" y="1937469"/>
            <a:ext cx="3119991" cy="4463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7150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AC42D31B-5CC6-473F-B591-59AD9BA32B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e use cases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047283B-DFB9-419D-810B-D400414F8D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ddressing sustainable coverage and dependability</a:t>
            </a:r>
          </a:p>
        </p:txBody>
      </p:sp>
    </p:spTree>
    <p:extLst>
      <p:ext uri="{BB962C8B-B14F-4D97-AF65-F5344CB8AC3E}">
        <p14:creationId xmlns:p14="http://schemas.microsoft.com/office/powerpoint/2010/main" val="6494536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AA5D77E3-AF98-4DD0-97FC-7CD71BC41D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Hexa-X use cases</a:t>
            </a:r>
            <a:br>
              <a:rPr lang="en-US" b="0" dirty="0"/>
            </a:br>
            <a:r>
              <a:rPr lang="en-US" sz="2000" b="0" dirty="0"/>
              <a:t>including additional telepresence use cases considered in WP7</a:t>
            </a:r>
            <a:endParaRPr lang="en-US" b="0" dirty="0"/>
          </a:p>
        </p:txBody>
      </p:sp>
      <p:sp>
        <p:nvSpPr>
          <p:cNvPr id="6" name="Hexagon 1">
            <a:extLst>
              <a:ext uri="{FF2B5EF4-FFF2-40B4-BE49-F238E27FC236}">
                <a16:creationId xmlns:a16="http://schemas.microsoft.com/office/drawing/2014/main" id="{2187D0E7-6231-4DA2-AD1D-5703736EB6C1}"/>
              </a:ext>
            </a:extLst>
          </p:cNvPr>
          <p:cNvSpPr/>
          <p:nvPr/>
        </p:nvSpPr>
        <p:spPr>
          <a:xfrm>
            <a:off x="2748666" y="1668235"/>
            <a:ext cx="5598764" cy="4154993"/>
          </a:xfrm>
          <a:prstGeom prst="hexagon">
            <a:avLst/>
          </a:prstGeom>
          <a:solidFill>
            <a:srgbClr val="8F8F8F">
              <a:lumMod val="20000"/>
              <a:lumOff val="80000"/>
            </a:srgbClr>
          </a:solidFill>
          <a:ln w="25400" cap="flat" cmpd="sng" algn="ctr">
            <a:solidFill>
              <a:srgbClr val="FF7900">
                <a:shade val="50000"/>
              </a:srgbClr>
            </a:solidFill>
            <a:prstDash val="solid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75 Bold"/>
              <a:ea typeface="+mn-ea"/>
              <a:cs typeface="+mn-cs"/>
            </a:endParaRPr>
          </a:p>
        </p:txBody>
      </p:sp>
      <p:sp>
        <p:nvSpPr>
          <p:cNvPr id="7" name="Oval 7">
            <a:extLst>
              <a:ext uri="{FF2B5EF4-FFF2-40B4-BE49-F238E27FC236}">
                <a16:creationId xmlns:a16="http://schemas.microsoft.com/office/drawing/2014/main" id="{D5047DE8-05F3-4A2C-9862-EF88E678F6CD}"/>
              </a:ext>
            </a:extLst>
          </p:cNvPr>
          <p:cNvSpPr/>
          <p:nvPr/>
        </p:nvSpPr>
        <p:spPr>
          <a:xfrm>
            <a:off x="3222052" y="2376699"/>
            <a:ext cx="1419903" cy="1369034"/>
          </a:xfrm>
          <a:prstGeom prst="ellipse">
            <a:avLst/>
          </a:prstGeom>
          <a:solidFill>
            <a:srgbClr val="8F8F8F">
              <a:lumMod val="40000"/>
              <a:lumOff val="60000"/>
            </a:srgbClr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cxnSp>
        <p:nvCxnSpPr>
          <p:cNvPr id="8" name="Connector: Elbow 8">
            <a:extLst>
              <a:ext uri="{FF2B5EF4-FFF2-40B4-BE49-F238E27FC236}">
                <a16:creationId xmlns:a16="http://schemas.microsoft.com/office/drawing/2014/main" id="{479B90E0-4823-48DD-9972-D979FF0F1912}"/>
              </a:ext>
            </a:extLst>
          </p:cNvPr>
          <p:cNvCxnSpPr>
            <a:cxnSpLocks/>
            <a:stCxn id="7" idx="2"/>
            <a:endCxn id="15" idx="3"/>
          </p:cNvCxnSpPr>
          <p:nvPr/>
        </p:nvCxnSpPr>
        <p:spPr>
          <a:xfrm rot="10800000">
            <a:off x="2908888" y="2400106"/>
            <a:ext cx="313165" cy="66111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9" name="Connector: Elbow 15">
            <a:extLst>
              <a:ext uri="{FF2B5EF4-FFF2-40B4-BE49-F238E27FC236}">
                <a16:creationId xmlns:a16="http://schemas.microsoft.com/office/drawing/2014/main" id="{58513839-5272-4FC6-8E63-3B7D2BF93BC7}"/>
              </a:ext>
            </a:extLst>
          </p:cNvPr>
          <p:cNvCxnSpPr>
            <a:cxnSpLocks/>
            <a:stCxn id="21" idx="2"/>
            <a:endCxn id="16" idx="3"/>
          </p:cNvCxnSpPr>
          <p:nvPr/>
        </p:nvCxnSpPr>
        <p:spPr>
          <a:xfrm rot="10800000" flipV="1">
            <a:off x="2874659" y="4545697"/>
            <a:ext cx="444232" cy="450479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0" name="Connector: Elbow 22">
            <a:extLst>
              <a:ext uri="{FF2B5EF4-FFF2-40B4-BE49-F238E27FC236}">
                <a16:creationId xmlns:a16="http://schemas.microsoft.com/office/drawing/2014/main" id="{7D04DAF2-2D35-4008-850A-BFECD7F752F0}"/>
              </a:ext>
            </a:extLst>
          </p:cNvPr>
          <p:cNvCxnSpPr>
            <a:cxnSpLocks/>
            <a:stCxn id="23" idx="6"/>
            <a:endCxn id="17" idx="1"/>
          </p:cNvCxnSpPr>
          <p:nvPr/>
        </p:nvCxnSpPr>
        <p:spPr>
          <a:xfrm flipV="1">
            <a:off x="6217195" y="1831824"/>
            <a:ext cx="1563266" cy="580036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" name="Connector: Elbow 29">
            <a:extLst>
              <a:ext uri="{FF2B5EF4-FFF2-40B4-BE49-F238E27FC236}">
                <a16:creationId xmlns:a16="http://schemas.microsoft.com/office/drawing/2014/main" id="{B67FD188-392D-4562-9066-D46153BE520A}"/>
              </a:ext>
            </a:extLst>
          </p:cNvPr>
          <p:cNvCxnSpPr>
            <a:cxnSpLocks/>
            <a:stCxn id="27" idx="6"/>
            <a:endCxn id="18" idx="1"/>
          </p:cNvCxnSpPr>
          <p:nvPr/>
        </p:nvCxnSpPr>
        <p:spPr>
          <a:xfrm>
            <a:off x="7777210" y="4544842"/>
            <a:ext cx="280155" cy="1200507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2" name="Hexagon 35">
            <a:extLst>
              <a:ext uri="{FF2B5EF4-FFF2-40B4-BE49-F238E27FC236}">
                <a16:creationId xmlns:a16="http://schemas.microsoft.com/office/drawing/2014/main" id="{3E4A3D88-880A-4583-BA97-2F327D3E321E}"/>
              </a:ext>
            </a:extLst>
          </p:cNvPr>
          <p:cNvSpPr/>
          <p:nvPr/>
        </p:nvSpPr>
        <p:spPr>
          <a:xfrm>
            <a:off x="4845776" y="3203224"/>
            <a:ext cx="1363643" cy="1085017"/>
          </a:xfrm>
          <a:prstGeom prst="hexagon">
            <a:avLst/>
          </a:prstGeom>
          <a:noFill/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685800">
              <a:defRPr/>
            </a:pPr>
            <a:endParaRPr lang="en-US" sz="1350" kern="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13" name="Connector: Elbow 38">
            <a:extLst>
              <a:ext uri="{FF2B5EF4-FFF2-40B4-BE49-F238E27FC236}">
                <a16:creationId xmlns:a16="http://schemas.microsoft.com/office/drawing/2014/main" id="{29461D3D-238F-4BAA-8E11-7429F677A619}"/>
              </a:ext>
            </a:extLst>
          </p:cNvPr>
          <p:cNvCxnSpPr>
            <a:cxnSpLocks/>
            <a:stCxn id="25" idx="6"/>
            <a:endCxn id="19" idx="1"/>
          </p:cNvCxnSpPr>
          <p:nvPr/>
        </p:nvCxnSpPr>
        <p:spPr>
          <a:xfrm>
            <a:off x="7785757" y="3061216"/>
            <a:ext cx="701900" cy="578151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4" name="ZoneTexte 1">
            <a:extLst>
              <a:ext uri="{FF2B5EF4-FFF2-40B4-BE49-F238E27FC236}">
                <a16:creationId xmlns:a16="http://schemas.microsoft.com/office/drawing/2014/main" id="{7AC67805-1C29-49E3-A79C-CE9F97928475}"/>
              </a:ext>
            </a:extLst>
          </p:cNvPr>
          <p:cNvSpPr txBox="1"/>
          <p:nvPr/>
        </p:nvSpPr>
        <p:spPr>
          <a:xfrm>
            <a:off x="3254686" y="2528577"/>
            <a:ext cx="1340494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685800">
              <a:defRPr/>
            </a:pPr>
            <a:r>
              <a:rPr lang="en-US" sz="1200" kern="0">
                <a:solidFill>
                  <a:prstClr val="black"/>
                </a:solidFill>
                <a:latin typeface="Calibri" panose="020F0502020204030204"/>
              </a:rPr>
              <a:t>Telepresence</a:t>
            </a:r>
            <a:endParaRPr lang="fr-FR" sz="1200" kern="0">
              <a:solidFill>
                <a:prstClr val="black"/>
              </a:solidFill>
              <a:latin typeface="Calibri" panose="020F0502020204030204"/>
            </a:endParaRPr>
          </a:p>
        </p:txBody>
      </p:sp>
      <p:graphicFrame>
        <p:nvGraphicFramePr>
          <p:cNvPr id="15" name="Table 113">
            <a:extLst>
              <a:ext uri="{FF2B5EF4-FFF2-40B4-BE49-F238E27FC236}">
                <a16:creationId xmlns:a16="http://schemas.microsoft.com/office/drawing/2014/main" id="{DBC21773-A0D5-45B2-852F-EEA287BCA146}"/>
              </a:ext>
            </a:extLst>
          </p:cNvPr>
          <p:cNvGraphicFramePr>
            <a:graphicFrameLocks noGrp="1"/>
          </p:cNvGraphicFramePr>
          <p:nvPr/>
        </p:nvGraphicFramePr>
        <p:xfrm>
          <a:off x="1498153" y="1508566"/>
          <a:ext cx="1410734" cy="1783080"/>
        </p:xfrm>
        <a:graphic>
          <a:graphicData uri="http://schemas.openxmlformats.org/drawingml/2006/table">
            <a:tbl>
              <a:tblPr firstRow="1" bandRow="1"/>
              <a:tblGrid>
                <a:gridCol w="1410734">
                  <a:extLst>
                    <a:ext uri="{9D8B030D-6E8A-4147-A177-3AD203B41FA5}">
                      <a16:colId xmlns:a16="http://schemas.microsoft.com/office/drawing/2014/main" val="2768136209"/>
                    </a:ext>
                  </a:extLst>
                </a:gridCol>
              </a:tblGrid>
              <a:tr h="2057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ully merged cyber-physical worlds</a:t>
                      </a: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F8F8F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5249356"/>
                  </a:ext>
                </a:extLst>
              </a:tr>
              <a:tr h="2057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xed reality co-design</a:t>
                      </a: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F8F8F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4199385"/>
                  </a:ext>
                </a:extLst>
              </a:tr>
              <a:tr h="2057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mmersive sport event</a:t>
                      </a: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F8F8F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594398"/>
                  </a:ext>
                </a:extLst>
              </a:tr>
              <a:tr h="2398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erged reality game/ work</a:t>
                      </a: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F8F8F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6896962"/>
                  </a:ext>
                </a:extLst>
              </a:tr>
              <a:tr h="23989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lepresence videoconferencing</a:t>
                      </a: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F8F8F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4457157"/>
                  </a:ext>
                </a:extLst>
              </a:tr>
              <a:tr h="23989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lepresence </a:t>
                      </a:r>
                      <a:br>
                        <a:rPr kumimoji="0" lang="en-US" sz="9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9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obotics</a:t>
                      </a: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F8F8F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2743804"/>
                  </a:ext>
                </a:extLst>
              </a:tr>
            </a:tbl>
          </a:graphicData>
        </a:graphic>
      </p:graphicFrame>
      <p:graphicFrame>
        <p:nvGraphicFramePr>
          <p:cNvPr id="16" name="Table 113">
            <a:extLst>
              <a:ext uri="{FF2B5EF4-FFF2-40B4-BE49-F238E27FC236}">
                <a16:creationId xmlns:a16="http://schemas.microsoft.com/office/drawing/2014/main" id="{7F2CC636-E738-440D-98AB-D74E22DB3E90}"/>
              </a:ext>
            </a:extLst>
          </p:cNvPr>
          <p:cNvGraphicFramePr>
            <a:graphicFrameLocks noGrp="1"/>
          </p:cNvGraphicFramePr>
          <p:nvPr/>
        </p:nvGraphicFramePr>
        <p:xfrm>
          <a:off x="1532380" y="4413247"/>
          <a:ext cx="1342279" cy="1165860"/>
        </p:xfrm>
        <a:graphic>
          <a:graphicData uri="http://schemas.openxmlformats.org/drawingml/2006/table">
            <a:tbl>
              <a:tblPr firstRow="1" bandRow="1"/>
              <a:tblGrid>
                <a:gridCol w="1342279">
                  <a:extLst>
                    <a:ext uri="{9D8B030D-6E8A-4147-A177-3AD203B41FA5}">
                      <a16:colId xmlns:a16="http://schemas.microsoft.com/office/drawing/2014/main" val="2768136209"/>
                    </a:ext>
                  </a:extLst>
                </a:gridCol>
              </a:tblGrid>
              <a:tr h="2057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Digital Twins for manufacturing</a:t>
                      </a:r>
                    </a:p>
                  </a:txBody>
                  <a:tcPr marL="68580" marR="68580" marT="34290" marB="3429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9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5249356"/>
                  </a:ext>
                </a:extLst>
              </a:tr>
              <a:tr h="342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Immersive smart </a:t>
                      </a:r>
                      <a:br>
                        <a:rPr kumimoji="0" 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</a:br>
                      <a:r>
                        <a:rPr kumimoji="0" 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cities</a:t>
                      </a:r>
                    </a:p>
                  </a:txBody>
                  <a:tcPr marL="68580" marR="68580" marT="34290" marB="3429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9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4199385"/>
                  </a:ext>
                </a:extLst>
              </a:tr>
              <a:tr h="27132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Digital Twins for sustainable food production</a:t>
                      </a:r>
                    </a:p>
                  </a:txBody>
                  <a:tcPr marL="68580" marR="68580" marT="34290" marB="3429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9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594398"/>
                  </a:ext>
                </a:extLst>
              </a:tr>
            </a:tbl>
          </a:graphicData>
        </a:graphic>
      </p:graphicFrame>
      <p:graphicFrame>
        <p:nvGraphicFramePr>
          <p:cNvPr id="17" name="Table 113">
            <a:extLst>
              <a:ext uri="{FF2B5EF4-FFF2-40B4-BE49-F238E27FC236}">
                <a16:creationId xmlns:a16="http://schemas.microsoft.com/office/drawing/2014/main" id="{8A37448D-9FE7-4BA7-8F39-BD1D9DE78040}"/>
              </a:ext>
            </a:extLst>
          </p:cNvPr>
          <p:cNvGraphicFramePr>
            <a:graphicFrameLocks noGrp="1"/>
          </p:cNvGraphicFramePr>
          <p:nvPr/>
        </p:nvGraphicFramePr>
        <p:xfrm>
          <a:off x="7780461" y="1283184"/>
          <a:ext cx="1406742" cy="1097280"/>
        </p:xfrm>
        <a:graphic>
          <a:graphicData uri="http://schemas.openxmlformats.org/drawingml/2006/table">
            <a:tbl>
              <a:tblPr firstRow="1" bandRow="1"/>
              <a:tblGrid>
                <a:gridCol w="1406742">
                  <a:extLst>
                    <a:ext uri="{9D8B030D-6E8A-4147-A177-3AD203B41FA5}">
                      <a16:colId xmlns:a16="http://schemas.microsoft.com/office/drawing/2014/main" val="2768136209"/>
                    </a:ext>
                  </a:extLst>
                </a:gridCol>
              </a:tblGrid>
              <a:tr h="1723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Consumer robots</a:t>
                      </a:r>
                    </a:p>
                  </a:txBody>
                  <a:tcPr marL="68580" marR="68580" marT="34290" marB="3429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B4E6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5249356"/>
                  </a:ext>
                </a:extLst>
              </a:tr>
              <a:tr h="18866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AI partners</a:t>
                      </a:r>
                    </a:p>
                  </a:txBody>
                  <a:tcPr marL="68580" marR="68580" marT="34290" marB="3429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B4E6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4199385"/>
                  </a:ext>
                </a:extLst>
              </a:tr>
              <a:tr h="40222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Interacting and cooperative mobile robots </a:t>
                      </a:r>
                    </a:p>
                  </a:txBody>
                  <a:tcPr marL="68580" marR="68580" marT="34290" marB="3429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B4E6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594398"/>
                  </a:ext>
                </a:extLst>
              </a:tr>
              <a:tr h="1723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Flexible manufacturing</a:t>
                      </a:r>
                    </a:p>
                  </a:txBody>
                  <a:tcPr marL="68580" marR="68580" marT="34290" marB="3429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B4E6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6896962"/>
                  </a:ext>
                </a:extLst>
              </a:tr>
            </a:tbl>
          </a:graphicData>
        </a:graphic>
      </p:graphicFrame>
      <p:graphicFrame>
        <p:nvGraphicFramePr>
          <p:cNvPr id="18" name="Table 113">
            <a:extLst>
              <a:ext uri="{FF2B5EF4-FFF2-40B4-BE49-F238E27FC236}">
                <a16:creationId xmlns:a16="http://schemas.microsoft.com/office/drawing/2014/main" id="{B0E8F90C-E37D-463A-A9E2-0EFCAB7AF0B2}"/>
              </a:ext>
            </a:extLst>
          </p:cNvPr>
          <p:cNvGraphicFramePr>
            <a:graphicFrameLocks noGrp="1"/>
          </p:cNvGraphicFramePr>
          <p:nvPr/>
        </p:nvGraphicFramePr>
        <p:xfrm>
          <a:off x="8057365" y="5265289"/>
          <a:ext cx="1419903" cy="960120"/>
        </p:xfrm>
        <a:graphic>
          <a:graphicData uri="http://schemas.openxmlformats.org/drawingml/2006/table">
            <a:tbl>
              <a:tblPr firstRow="1" bandRow="1"/>
              <a:tblGrid>
                <a:gridCol w="1419903">
                  <a:extLst>
                    <a:ext uri="{9D8B030D-6E8A-4147-A177-3AD203B41FA5}">
                      <a16:colId xmlns:a16="http://schemas.microsoft.com/office/drawing/2014/main" val="2768136209"/>
                    </a:ext>
                  </a:extLst>
                </a:gridCol>
              </a:tblGrid>
              <a:tr h="1774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E-health for all</a:t>
                      </a:r>
                    </a:p>
                  </a:txBody>
                  <a:tcPr marL="68580" marR="68580" marT="34290" marB="3429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BE87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5249356"/>
                  </a:ext>
                </a:extLst>
              </a:tr>
              <a:tr h="1774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Institutional coverage</a:t>
                      </a:r>
                    </a:p>
                  </a:txBody>
                  <a:tcPr marL="68580" marR="68580" marT="34290" marB="3429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BE87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4199385"/>
                  </a:ext>
                </a:extLst>
              </a:tr>
              <a:tr h="1774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Earth monitor</a:t>
                      </a:r>
                    </a:p>
                  </a:txBody>
                  <a:tcPr marL="68580" marR="68580" marT="34290" marB="3429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BE87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594398"/>
                  </a:ext>
                </a:extLst>
              </a:tr>
              <a:tr h="23703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Autonomous supply chains</a:t>
                      </a:r>
                    </a:p>
                  </a:txBody>
                  <a:tcPr marL="68580" marR="68580" marT="34290" marB="3429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BE87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6896962"/>
                  </a:ext>
                </a:extLst>
              </a:tr>
            </a:tbl>
          </a:graphicData>
        </a:graphic>
      </p:graphicFrame>
      <p:graphicFrame>
        <p:nvGraphicFramePr>
          <p:cNvPr id="19" name="Table 113">
            <a:extLst>
              <a:ext uri="{FF2B5EF4-FFF2-40B4-BE49-F238E27FC236}">
                <a16:creationId xmlns:a16="http://schemas.microsoft.com/office/drawing/2014/main" id="{E2182925-287E-46A2-8212-F31AFF43C67A}"/>
              </a:ext>
            </a:extLst>
          </p:cNvPr>
          <p:cNvGraphicFramePr>
            <a:graphicFrameLocks noGrp="1"/>
          </p:cNvGraphicFramePr>
          <p:nvPr/>
        </p:nvGraphicFramePr>
        <p:xfrm>
          <a:off x="8487657" y="2507797"/>
          <a:ext cx="1680277" cy="2263140"/>
        </p:xfrm>
        <a:graphic>
          <a:graphicData uri="http://schemas.openxmlformats.org/drawingml/2006/table">
            <a:tbl>
              <a:tblPr firstRow="1" bandRow="1"/>
              <a:tblGrid>
                <a:gridCol w="1680277">
                  <a:extLst>
                    <a:ext uri="{9D8B030D-6E8A-4147-A177-3AD203B41FA5}">
                      <a16:colId xmlns:a16="http://schemas.microsoft.com/office/drawing/2014/main" val="2768136209"/>
                    </a:ext>
                  </a:extLst>
                </a:gridCol>
              </a:tblGrid>
              <a:tr h="1353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Precision healthcare</a:t>
                      </a:r>
                    </a:p>
                  </a:txBody>
                  <a:tcPr marL="68580" marR="68580" marT="34290" marB="3429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885D8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5249356"/>
                  </a:ext>
                </a:extLst>
              </a:tr>
              <a:tr h="1353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Sensor infrastructure web</a:t>
                      </a:r>
                    </a:p>
                  </a:txBody>
                  <a:tcPr marL="68580" marR="68580" marT="34290" marB="3429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885D8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4199385"/>
                  </a:ext>
                </a:extLst>
              </a:tr>
              <a:tr h="1353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6G IoT micro-networks for smart cities</a:t>
                      </a:r>
                    </a:p>
                  </a:txBody>
                  <a:tcPr marL="68580" marR="68580" marT="34290" marB="3429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885D8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594398"/>
                  </a:ext>
                </a:extLst>
              </a:tr>
              <a:tr h="2255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Infrastructure-less network extensions and embedded networks</a:t>
                      </a:r>
                    </a:p>
                  </a:txBody>
                  <a:tcPr marL="68580" marR="68580" marT="34290" marB="3429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885D8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6896962"/>
                  </a:ext>
                </a:extLst>
              </a:tr>
              <a:tr h="31583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Local coverage for temporary usage</a:t>
                      </a:r>
                    </a:p>
                  </a:txBody>
                  <a:tcPr marL="68580" marR="68580" marT="34290" marB="3429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885D8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3319807"/>
                  </a:ext>
                </a:extLst>
              </a:tr>
              <a:tr h="1353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Small coverage, low power micro-network in networks for production &amp; manufacturing</a:t>
                      </a:r>
                    </a:p>
                  </a:txBody>
                  <a:tcPr marL="68580" marR="68580" marT="34290" marB="3429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885D8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1396249"/>
                  </a:ext>
                </a:extLst>
              </a:tr>
              <a:tr h="1353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Automatic public security</a:t>
                      </a:r>
                    </a:p>
                  </a:txBody>
                  <a:tcPr marL="68580" marR="68580" marT="34290" marB="3429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885D8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3302120"/>
                  </a:ext>
                </a:extLst>
              </a:tr>
            </a:tbl>
          </a:graphicData>
        </a:graphic>
      </p:graphicFrame>
      <p:pic>
        <p:nvPicPr>
          <p:cNvPr id="20" name="Picture 181">
            <a:extLst>
              <a:ext uri="{FF2B5EF4-FFF2-40B4-BE49-F238E27FC236}">
                <a16:creationId xmlns:a16="http://schemas.microsoft.com/office/drawing/2014/main" id="{37A49AC7-96CE-4AEE-ADD7-6D712607FCEB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7818" y="3403924"/>
            <a:ext cx="1082456" cy="697868"/>
          </a:xfrm>
          <a:prstGeom prst="rect">
            <a:avLst/>
          </a:prstGeom>
          <a:noFill/>
        </p:spPr>
      </p:pic>
      <p:sp>
        <p:nvSpPr>
          <p:cNvPr id="21" name="Oval 219">
            <a:extLst>
              <a:ext uri="{FF2B5EF4-FFF2-40B4-BE49-F238E27FC236}">
                <a16:creationId xmlns:a16="http://schemas.microsoft.com/office/drawing/2014/main" id="{BB684A66-0B6E-4B3C-B249-9A56C85FB910}"/>
              </a:ext>
            </a:extLst>
          </p:cNvPr>
          <p:cNvSpPr/>
          <p:nvPr/>
        </p:nvSpPr>
        <p:spPr>
          <a:xfrm>
            <a:off x="3318891" y="3861181"/>
            <a:ext cx="1419903" cy="1369034"/>
          </a:xfrm>
          <a:prstGeom prst="ellipse">
            <a:avLst/>
          </a:prstGeom>
          <a:solidFill>
            <a:srgbClr val="FF7900">
              <a:lumMod val="40000"/>
              <a:lumOff val="60000"/>
            </a:srgbClr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2" name="ZoneTexte 1">
            <a:extLst>
              <a:ext uri="{FF2B5EF4-FFF2-40B4-BE49-F238E27FC236}">
                <a16:creationId xmlns:a16="http://schemas.microsoft.com/office/drawing/2014/main" id="{B07932ED-BD8B-4CF7-B343-48CCA25357E2}"/>
              </a:ext>
            </a:extLst>
          </p:cNvPr>
          <p:cNvSpPr txBox="1"/>
          <p:nvPr/>
        </p:nvSpPr>
        <p:spPr>
          <a:xfrm>
            <a:off x="3451848" y="4064268"/>
            <a:ext cx="1182563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685800">
              <a:defRPr/>
            </a:pPr>
            <a:r>
              <a:rPr lang="en-US" sz="1200" kern="0">
                <a:solidFill>
                  <a:prstClr val="black"/>
                </a:solidFill>
                <a:latin typeface="Calibri" panose="020F0502020204030204"/>
              </a:rPr>
              <a:t>Massive twinning</a:t>
            </a:r>
            <a:endParaRPr lang="fr-FR" sz="120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3" name="Oval 223">
            <a:extLst>
              <a:ext uri="{FF2B5EF4-FFF2-40B4-BE49-F238E27FC236}">
                <a16:creationId xmlns:a16="http://schemas.microsoft.com/office/drawing/2014/main" id="{1F98A132-7275-4218-85DB-E6A31E3E42EC}"/>
              </a:ext>
            </a:extLst>
          </p:cNvPr>
          <p:cNvSpPr/>
          <p:nvPr/>
        </p:nvSpPr>
        <p:spPr>
          <a:xfrm>
            <a:off x="4797292" y="1727343"/>
            <a:ext cx="1419903" cy="1369034"/>
          </a:xfrm>
          <a:prstGeom prst="ellipse">
            <a:avLst/>
          </a:prstGeom>
          <a:solidFill>
            <a:srgbClr val="4BB4E6">
              <a:lumMod val="40000"/>
              <a:lumOff val="60000"/>
            </a:srgbClr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4" name="ZoneTexte 1">
            <a:extLst>
              <a:ext uri="{FF2B5EF4-FFF2-40B4-BE49-F238E27FC236}">
                <a16:creationId xmlns:a16="http://schemas.microsoft.com/office/drawing/2014/main" id="{EB964040-C55F-49AA-A3D6-7859513EF388}"/>
              </a:ext>
            </a:extLst>
          </p:cNvPr>
          <p:cNvSpPr txBox="1"/>
          <p:nvPr/>
        </p:nvSpPr>
        <p:spPr>
          <a:xfrm>
            <a:off x="4850810" y="1997443"/>
            <a:ext cx="1326965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685800">
              <a:defRPr/>
            </a:pPr>
            <a:r>
              <a:rPr lang="en-US" sz="1200" kern="0" dirty="0">
                <a:solidFill>
                  <a:prstClr val="black"/>
                </a:solidFill>
                <a:latin typeface="Calibri" panose="020F0502020204030204"/>
              </a:rPr>
              <a:t>Robots to </a:t>
            </a:r>
            <a:r>
              <a:rPr lang="en-US" sz="1200" kern="0" dirty="0" err="1">
                <a:solidFill>
                  <a:prstClr val="black"/>
                </a:solidFill>
                <a:latin typeface="Calibri" panose="020F0502020204030204"/>
              </a:rPr>
              <a:t>cobots</a:t>
            </a:r>
            <a:endParaRPr lang="fr-FR" sz="12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5" name="Oval 226">
            <a:extLst>
              <a:ext uri="{FF2B5EF4-FFF2-40B4-BE49-F238E27FC236}">
                <a16:creationId xmlns:a16="http://schemas.microsoft.com/office/drawing/2014/main" id="{4B0956F1-2A7D-4846-8F72-E05F40DCA8BC}"/>
              </a:ext>
            </a:extLst>
          </p:cNvPr>
          <p:cNvSpPr/>
          <p:nvPr/>
        </p:nvSpPr>
        <p:spPr>
          <a:xfrm>
            <a:off x="6365854" y="2376699"/>
            <a:ext cx="1419903" cy="1369034"/>
          </a:xfrm>
          <a:prstGeom prst="ellipse">
            <a:avLst/>
          </a:prstGeom>
          <a:solidFill>
            <a:srgbClr val="A885D8">
              <a:lumMod val="40000"/>
              <a:lumOff val="60000"/>
            </a:srgbClr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6" name="ZoneTexte 1">
            <a:extLst>
              <a:ext uri="{FF2B5EF4-FFF2-40B4-BE49-F238E27FC236}">
                <a16:creationId xmlns:a16="http://schemas.microsoft.com/office/drawing/2014/main" id="{A74D9A69-2439-4972-8ED3-A89B2FA40C86}"/>
              </a:ext>
            </a:extLst>
          </p:cNvPr>
          <p:cNvSpPr txBox="1"/>
          <p:nvPr/>
        </p:nvSpPr>
        <p:spPr>
          <a:xfrm>
            <a:off x="6476157" y="2579736"/>
            <a:ext cx="1182563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685800">
              <a:defRPr/>
            </a:pPr>
            <a:r>
              <a:rPr lang="en-US" sz="1200" kern="0">
                <a:solidFill>
                  <a:prstClr val="black"/>
                </a:solidFill>
                <a:latin typeface="Calibri" panose="020F0502020204030204"/>
              </a:rPr>
              <a:t>Local trust zones</a:t>
            </a:r>
            <a:endParaRPr lang="fr-FR" sz="120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7" name="Oval 240">
            <a:extLst>
              <a:ext uri="{FF2B5EF4-FFF2-40B4-BE49-F238E27FC236}">
                <a16:creationId xmlns:a16="http://schemas.microsoft.com/office/drawing/2014/main" id="{37B749DE-6D5A-4743-822C-99E7D3437A0E}"/>
              </a:ext>
            </a:extLst>
          </p:cNvPr>
          <p:cNvSpPr/>
          <p:nvPr/>
        </p:nvSpPr>
        <p:spPr>
          <a:xfrm>
            <a:off x="6357307" y="3860325"/>
            <a:ext cx="1419903" cy="1369034"/>
          </a:xfrm>
          <a:prstGeom prst="ellipse">
            <a:avLst/>
          </a:prstGeom>
          <a:solidFill>
            <a:srgbClr val="50BE87">
              <a:lumMod val="40000"/>
              <a:lumOff val="60000"/>
            </a:srgbClr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8" name="ZoneTexte 1">
            <a:extLst>
              <a:ext uri="{FF2B5EF4-FFF2-40B4-BE49-F238E27FC236}">
                <a16:creationId xmlns:a16="http://schemas.microsoft.com/office/drawing/2014/main" id="{A3C96A8F-70BC-423B-A962-B80230CB62FF}"/>
              </a:ext>
            </a:extLst>
          </p:cNvPr>
          <p:cNvSpPr txBox="1"/>
          <p:nvPr/>
        </p:nvSpPr>
        <p:spPr>
          <a:xfrm>
            <a:off x="6482775" y="3970277"/>
            <a:ext cx="1182563" cy="36933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685800">
              <a:defRPr/>
            </a:pPr>
            <a:r>
              <a:rPr lang="en-US" sz="1200" kern="0">
                <a:solidFill>
                  <a:prstClr val="black"/>
                </a:solidFill>
                <a:latin typeface="Calibri" panose="020F0502020204030204"/>
              </a:rPr>
              <a:t>Sustainable development</a:t>
            </a:r>
            <a:endParaRPr lang="fr-FR" sz="1200" kern="0">
              <a:solidFill>
                <a:prstClr val="black"/>
              </a:solidFill>
              <a:latin typeface="Calibri" panose="020F0502020204030204"/>
            </a:endParaRPr>
          </a:p>
        </p:txBody>
      </p:sp>
      <p:pic>
        <p:nvPicPr>
          <p:cNvPr id="29" name="Picture 42">
            <a:extLst>
              <a:ext uri="{FF2B5EF4-FFF2-40B4-BE49-F238E27FC236}">
                <a16:creationId xmlns:a16="http://schemas.microsoft.com/office/drawing/2014/main" id="{C65BD4AE-D7A9-4A7F-80E9-B8500E9D3E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92844" y="4490745"/>
            <a:ext cx="348829" cy="440189"/>
          </a:xfrm>
          <a:prstGeom prst="rect">
            <a:avLst/>
          </a:prstGeom>
        </p:spPr>
      </p:pic>
      <p:pic>
        <p:nvPicPr>
          <p:cNvPr id="30" name="Picture 44">
            <a:extLst>
              <a:ext uri="{FF2B5EF4-FFF2-40B4-BE49-F238E27FC236}">
                <a16:creationId xmlns:a16="http://schemas.microsoft.com/office/drawing/2014/main" id="{449DB269-57D0-4E28-A0C5-E6DD039F45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51710" y="4589131"/>
            <a:ext cx="554263" cy="344025"/>
          </a:xfrm>
          <a:prstGeom prst="rect">
            <a:avLst/>
          </a:prstGeom>
        </p:spPr>
      </p:pic>
      <p:pic>
        <p:nvPicPr>
          <p:cNvPr id="31" name="Picture 49">
            <a:extLst>
              <a:ext uri="{FF2B5EF4-FFF2-40B4-BE49-F238E27FC236}">
                <a16:creationId xmlns:a16="http://schemas.microsoft.com/office/drawing/2014/main" id="{AF9C8F01-2281-40AD-AAF2-A4D9CCECE07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27951" y="2288956"/>
            <a:ext cx="426737" cy="589969"/>
          </a:xfrm>
          <a:prstGeom prst="rect">
            <a:avLst/>
          </a:prstGeom>
        </p:spPr>
      </p:pic>
      <p:pic>
        <p:nvPicPr>
          <p:cNvPr id="32" name="Picture 15">
            <a:extLst>
              <a:ext uri="{FF2B5EF4-FFF2-40B4-BE49-F238E27FC236}">
                <a16:creationId xmlns:a16="http://schemas.microsoft.com/office/drawing/2014/main" id="{F9C91DB6-F40F-4BDE-B580-946EBA7B13E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560"/>
          <a:stretch/>
        </p:blipFill>
        <p:spPr>
          <a:xfrm>
            <a:off x="5700123" y="2525905"/>
            <a:ext cx="198518" cy="398722"/>
          </a:xfrm>
          <a:prstGeom prst="rect">
            <a:avLst/>
          </a:prstGeom>
        </p:spPr>
      </p:pic>
      <p:pic>
        <p:nvPicPr>
          <p:cNvPr id="33" name="Picture 51">
            <a:extLst>
              <a:ext uri="{FF2B5EF4-FFF2-40B4-BE49-F238E27FC236}">
                <a16:creationId xmlns:a16="http://schemas.microsoft.com/office/drawing/2014/main" id="{D402A03F-8162-4D5B-A541-35C5DF41955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8622" y="2808962"/>
            <a:ext cx="512093" cy="508512"/>
          </a:xfrm>
          <a:prstGeom prst="rect">
            <a:avLst/>
          </a:prstGeom>
        </p:spPr>
      </p:pic>
      <p:pic>
        <p:nvPicPr>
          <p:cNvPr id="34" name="Picture 52">
            <a:extLst>
              <a:ext uri="{FF2B5EF4-FFF2-40B4-BE49-F238E27FC236}">
                <a16:creationId xmlns:a16="http://schemas.microsoft.com/office/drawing/2014/main" id="{5729CD06-4CEE-4F09-9CD2-54D673B149B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32829" y="2932278"/>
            <a:ext cx="277000" cy="387800"/>
          </a:xfrm>
          <a:prstGeom prst="rect">
            <a:avLst/>
          </a:prstGeom>
        </p:spPr>
      </p:pic>
      <p:sp>
        <p:nvSpPr>
          <p:cNvPr id="35" name="Oval 80">
            <a:extLst>
              <a:ext uri="{FF2B5EF4-FFF2-40B4-BE49-F238E27FC236}">
                <a16:creationId xmlns:a16="http://schemas.microsoft.com/office/drawing/2014/main" id="{A201F550-6B21-46EB-8D96-5387018FA543}"/>
              </a:ext>
            </a:extLst>
          </p:cNvPr>
          <p:cNvSpPr/>
          <p:nvPr/>
        </p:nvSpPr>
        <p:spPr>
          <a:xfrm>
            <a:off x="4838098" y="4376315"/>
            <a:ext cx="1419903" cy="1369034"/>
          </a:xfrm>
          <a:prstGeom prst="ellipse">
            <a:avLst/>
          </a:prstGeom>
          <a:solidFill>
            <a:srgbClr val="FFD200">
              <a:lumMod val="40000"/>
              <a:lumOff val="60000"/>
            </a:srgbClr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36" name="ZoneTexte 1">
            <a:extLst>
              <a:ext uri="{FF2B5EF4-FFF2-40B4-BE49-F238E27FC236}">
                <a16:creationId xmlns:a16="http://schemas.microsoft.com/office/drawing/2014/main" id="{BFCA9475-1BC7-4586-AA59-85B998E8F0D7}"/>
              </a:ext>
            </a:extLst>
          </p:cNvPr>
          <p:cNvSpPr txBox="1"/>
          <p:nvPr/>
        </p:nvSpPr>
        <p:spPr>
          <a:xfrm>
            <a:off x="4956767" y="4543294"/>
            <a:ext cx="1182563" cy="36933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685800">
              <a:defRPr/>
            </a:pPr>
            <a:r>
              <a:rPr lang="en-US" sz="1200" kern="0">
                <a:solidFill>
                  <a:prstClr val="black"/>
                </a:solidFill>
                <a:latin typeface="Calibri" panose="020F0502020204030204"/>
              </a:rPr>
              <a:t>Additional evolving use cases</a:t>
            </a:r>
            <a:endParaRPr lang="fr-FR" sz="1200" kern="0">
              <a:solidFill>
                <a:prstClr val="black"/>
              </a:solidFill>
              <a:latin typeface="Calibri" panose="020F0502020204030204"/>
            </a:endParaRPr>
          </a:p>
        </p:txBody>
      </p:sp>
      <p:pic>
        <p:nvPicPr>
          <p:cNvPr id="37" name="Graphic 9" descr="Question mark">
            <a:extLst>
              <a:ext uri="{FF2B5EF4-FFF2-40B4-BE49-F238E27FC236}">
                <a16:creationId xmlns:a16="http://schemas.microsoft.com/office/drawing/2014/main" id="{02576F18-30C6-4083-ADDA-0EA7746E6BD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379355" y="5188098"/>
            <a:ext cx="337390" cy="337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17751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AA5D77E3-AF98-4DD0-97FC-7CD71BC41D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WP7 selected use cases </a:t>
            </a:r>
            <a:br>
              <a:rPr lang="en-US" dirty="0"/>
            </a:br>
            <a:r>
              <a:rPr lang="en-US" sz="2000" b="0" dirty="0"/>
              <a:t>targeting dependability and sustainable coverage</a:t>
            </a:r>
            <a:endParaRPr lang="en-US" b="0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411C7A18-65E9-41F4-A43B-0F8500BC282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15" name="Table 113">
            <a:extLst>
              <a:ext uri="{FF2B5EF4-FFF2-40B4-BE49-F238E27FC236}">
                <a16:creationId xmlns:a16="http://schemas.microsoft.com/office/drawing/2014/main" id="{DBC21773-A0D5-45B2-852F-EEA287BCA146}"/>
              </a:ext>
            </a:extLst>
          </p:cNvPr>
          <p:cNvGraphicFramePr>
            <a:graphicFrameLocks noGrp="1"/>
          </p:cNvGraphicFramePr>
          <p:nvPr/>
        </p:nvGraphicFramePr>
        <p:xfrm>
          <a:off x="1498153" y="1508566"/>
          <a:ext cx="1410734" cy="1783080"/>
        </p:xfrm>
        <a:graphic>
          <a:graphicData uri="http://schemas.openxmlformats.org/drawingml/2006/table">
            <a:tbl>
              <a:tblPr firstRow="1" bandRow="1"/>
              <a:tblGrid>
                <a:gridCol w="1410734">
                  <a:extLst>
                    <a:ext uri="{9D8B030D-6E8A-4147-A177-3AD203B41FA5}">
                      <a16:colId xmlns:a16="http://schemas.microsoft.com/office/drawing/2014/main" val="2768136209"/>
                    </a:ext>
                  </a:extLst>
                </a:gridCol>
              </a:tblGrid>
              <a:tr h="2057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ully merged cyber-physical worlds</a:t>
                      </a: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F8F8F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5249356"/>
                  </a:ext>
                </a:extLst>
              </a:tr>
              <a:tr h="2057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xed reality co-design</a:t>
                      </a: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F8F8F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4199385"/>
                  </a:ext>
                </a:extLst>
              </a:tr>
              <a:tr h="2057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mmersive sport event</a:t>
                      </a: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F8F8F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594398"/>
                  </a:ext>
                </a:extLst>
              </a:tr>
              <a:tr h="2398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erged reality game/ work</a:t>
                      </a: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F8F8F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6896962"/>
                  </a:ext>
                </a:extLst>
              </a:tr>
              <a:tr h="23989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lepresence videoconferencing</a:t>
                      </a: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F8F8F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4457157"/>
                  </a:ext>
                </a:extLst>
              </a:tr>
              <a:tr h="23989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lepresence </a:t>
                      </a:r>
                      <a:br>
                        <a:rPr kumimoji="0" lang="en-US" sz="9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9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obotics</a:t>
                      </a: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F8F8F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2743804"/>
                  </a:ext>
                </a:extLst>
              </a:tr>
            </a:tbl>
          </a:graphicData>
        </a:graphic>
      </p:graphicFrame>
      <p:graphicFrame>
        <p:nvGraphicFramePr>
          <p:cNvPr id="16" name="Table 113">
            <a:extLst>
              <a:ext uri="{FF2B5EF4-FFF2-40B4-BE49-F238E27FC236}">
                <a16:creationId xmlns:a16="http://schemas.microsoft.com/office/drawing/2014/main" id="{7F2CC636-E738-440D-98AB-D74E22DB3E90}"/>
              </a:ext>
            </a:extLst>
          </p:cNvPr>
          <p:cNvGraphicFramePr>
            <a:graphicFrameLocks noGrp="1"/>
          </p:cNvGraphicFramePr>
          <p:nvPr/>
        </p:nvGraphicFramePr>
        <p:xfrm>
          <a:off x="1532380" y="4413247"/>
          <a:ext cx="1342279" cy="1165860"/>
        </p:xfrm>
        <a:graphic>
          <a:graphicData uri="http://schemas.openxmlformats.org/drawingml/2006/table">
            <a:tbl>
              <a:tblPr firstRow="1" bandRow="1"/>
              <a:tblGrid>
                <a:gridCol w="1342279">
                  <a:extLst>
                    <a:ext uri="{9D8B030D-6E8A-4147-A177-3AD203B41FA5}">
                      <a16:colId xmlns:a16="http://schemas.microsoft.com/office/drawing/2014/main" val="2768136209"/>
                    </a:ext>
                  </a:extLst>
                </a:gridCol>
              </a:tblGrid>
              <a:tr h="2057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Digital Twins for manufacturing</a:t>
                      </a:r>
                    </a:p>
                  </a:txBody>
                  <a:tcPr marL="68580" marR="68580" marT="34290" marB="3429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9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5249356"/>
                  </a:ext>
                </a:extLst>
              </a:tr>
              <a:tr h="342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Immersive smart </a:t>
                      </a:r>
                      <a:br>
                        <a:rPr kumimoji="0" lang="en-US" sz="9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</a:br>
                      <a:r>
                        <a:rPr kumimoji="0" lang="en-US" sz="9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cities</a:t>
                      </a:r>
                    </a:p>
                  </a:txBody>
                  <a:tcPr marL="68580" marR="68580" marT="34290" marB="3429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9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4199385"/>
                  </a:ext>
                </a:extLst>
              </a:tr>
              <a:tr h="27132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Digital Twins for sustainable food production</a:t>
                      </a:r>
                    </a:p>
                  </a:txBody>
                  <a:tcPr marL="68580" marR="68580" marT="34290" marB="3429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9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594398"/>
                  </a:ext>
                </a:extLst>
              </a:tr>
            </a:tbl>
          </a:graphicData>
        </a:graphic>
      </p:graphicFrame>
      <p:graphicFrame>
        <p:nvGraphicFramePr>
          <p:cNvPr id="17" name="Table 113">
            <a:extLst>
              <a:ext uri="{FF2B5EF4-FFF2-40B4-BE49-F238E27FC236}">
                <a16:creationId xmlns:a16="http://schemas.microsoft.com/office/drawing/2014/main" id="{8A37448D-9FE7-4BA7-8F39-BD1D9DE78040}"/>
              </a:ext>
            </a:extLst>
          </p:cNvPr>
          <p:cNvGraphicFramePr>
            <a:graphicFrameLocks noGrp="1"/>
          </p:cNvGraphicFramePr>
          <p:nvPr/>
        </p:nvGraphicFramePr>
        <p:xfrm>
          <a:off x="7780461" y="1283184"/>
          <a:ext cx="1406742" cy="1097280"/>
        </p:xfrm>
        <a:graphic>
          <a:graphicData uri="http://schemas.openxmlformats.org/drawingml/2006/table">
            <a:tbl>
              <a:tblPr firstRow="1" bandRow="1"/>
              <a:tblGrid>
                <a:gridCol w="1406742">
                  <a:extLst>
                    <a:ext uri="{9D8B030D-6E8A-4147-A177-3AD203B41FA5}">
                      <a16:colId xmlns:a16="http://schemas.microsoft.com/office/drawing/2014/main" val="2768136209"/>
                    </a:ext>
                  </a:extLst>
                </a:gridCol>
              </a:tblGrid>
              <a:tr h="1723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Consumer robots</a:t>
                      </a:r>
                    </a:p>
                  </a:txBody>
                  <a:tcPr marL="68580" marR="68580" marT="34290" marB="3429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B4E6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5249356"/>
                  </a:ext>
                </a:extLst>
              </a:tr>
              <a:tr h="18866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AI partners</a:t>
                      </a:r>
                    </a:p>
                  </a:txBody>
                  <a:tcPr marL="68580" marR="68580" marT="34290" marB="3429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B4E6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4199385"/>
                  </a:ext>
                </a:extLst>
              </a:tr>
              <a:tr h="40222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Interacting and cooperative mobile robots </a:t>
                      </a:r>
                    </a:p>
                  </a:txBody>
                  <a:tcPr marL="68580" marR="68580" marT="34290" marB="3429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B4E6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594398"/>
                  </a:ext>
                </a:extLst>
              </a:tr>
              <a:tr h="1723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Flexible manufacturing *</a:t>
                      </a:r>
                    </a:p>
                  </a:txBody>
                  <a:tcPr marL="68580" marR="68580" marT="34290" marB="3429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B4E6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6896962"/>
                  </a:ext>
                </a:extLst>
              </a:tr>
            </a:tbl>
          </a:graphicData>
        </a:graphic>
      </p:graphicFrame>
      <p:graphicFrame>
        <p:nvGraphicFramePr>
          <p:cNvPr id="18" name="Table 113">
            <a:extLst>
              <a:ext uri="{FF2B5EF4-FFF2-40B4-BE49-F238E27FC236}">
                <a16:creationId xmlns:a16="http://schemas.microsoft.com/office/drawing/2014/main" id="{B0E8F90C-E37D-463A-A9E2-0EFCAB7AF0B2}"/>
              </a:ext>
            </a:extLst>
          </p:cNvPr>
          <p:cNvGraphicFramePr>
            <a:graphicFrameLocks noGrp="1"/>
          </p:cNvGraphicFramePr>
          <p:nvPr/>
        </p:nvGraphicFramePr>
        <p:xfrm>
          <a:off x="8057365" y="5265289"/>
          <a:ext cx="1419903" cy="960120"/>
        </p:xfrm>
        <a:graphic>
          <a:graphicData uri="http://schemas.openxmlformats.org/drawingml/2006/table">
            <a:tbl>
              <a:tblPr firstRow="1" bandRow="1"/>
              <a:tblGrid>
                <a:gridCol w="1419903">
                  <a:extLst>
                    <a:ext uri="{9D8B030D-6E8A-4147-A177-3AD203B41FA5}">
                      <a16:colId xmlns:a16="http://schemas.microsoft.com/office/drawing/2014/main" val="2768136209"/>
                    </a:ext>
                  </a:extLst>
                </a:gridCol>
              </a:tblGrid>
              <a:tr h="1774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E-health for all</a:t>
                      </a:r>
                    </a:p>
                  </a:txBody>
                  <a:tcPr marL="68580" marR="68580" marT="34290" marB="3429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BE87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5249356"/>
                  </a:ext>
                </a:extLst>
              </a:tr>
              <a:tr h="1774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Institutional coverage</a:t>
                      </a:r>
                    </a:p>
                  </a:txBody>
                  <a:tcPr marL="68580" marR="68580" marT="34290" marB="3429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BE87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4199385"/>
                  </a:ext>
                </a:extLst>
              </a:tr>
              <a:tr h="1774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Earth monitor</a:t>
                      </a:r>
                    </a:p>
                  </a:txBody>
                  <a:tcPr marL="68580" marR="68580" marT="34290" marB="3429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BE87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594398"/>
                  </a:ext>
                </a:extLst>
              </a:tr>
              <a:tr h="23703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Autonomous supply chains</a:t>
                      </a:r>
                    </a:p>
                  </a:txBody>
                  <a:tcPr marL="68580" marR="68580" marT="34290" marB="3429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BE87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6896962"/>
                  </a:ext>
                </a:extLst>
              </a:tr>
            </a:tbl>
          </a:graphicData>
        </a:graphic>
      </p:graphicFrame>
      <p:graphicFrame>
        <p:nvGraphicFramePr>
          <p:cNvPr id="19" name="Table 113">
            <a:extLst>
              <a:ext uri="{FF2B5EF4-FFF2-40B4-BE49-F238E27FC236}">
                <a16:creationId xmlns:a16="http://schemas.microsoft.com/office/drawing/2014/main" id="{E2182925-287E-46A2-8212-F31AFF43C67A}"/>
              </a:ext>
            </a:extLst>
          </p:cNvPr>
          <p:cNvGraphicFramePr>
            <a:graphicFrameLocks noGrp="1"/>
          </p:cNvGraphicFramePr>
          <p:nvPr/>
        </p:nvGraphicFramePr>
        <p:xfrm>
          <a:off x="8487657" y="2507797"/>
          <a:ext cx="1680277" cy="2263140"/>
        </p:xfrm>
        <a:graphic>
          <a:graphicData uri="http://schemas.openxmlformats.org/drawingml/2006/table">
            <a:tbl>
              <a:tblPr firstRow="1" bandRow="1"/>
              <a:tblGrid>
                <a:gridCol w="1680277">
                  <a:extLst>
                    <a:ext uri="{9D8B030D-6E8A-4147-A177-3AD203B41FA5}">
                      <a16:colId xmlns:a16="http://schemas.microsoft.com/office/drawing/2014/main" val="2768136209"/>
                    </a:ext>
                  </a:extLst>
                </a:gridCol>
              </a:tblGrid>
              <a:tr h="1353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 75 Bold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Precision healthcare</a:t>
                      </a:r>
                    </a:p>
                  </a:txBody>
                  <a:tcPr marL="68580" marR="68580" marT="34290" marB="3429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885D8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5249356"/>
                  </a:ext>
                </a:extLst>
              </a:tr>
              <a:tr h="1353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Sensor infrastructure web</a:t>
                      </a:r>
                    </a:p>
                  </a:txBody>
                  <a:tcPr marL="68580" marR="68580" marT="34290" marB="3429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885D8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4199385"/>
                  </a:ext>
                </a:extLst>
              </a:tr>
              <a:tr h="1353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6G IoT micro-networks for smart cities</a:t>
                      </a:r>
                    </a:p>
                  </a:txBody>
                  <a:tcPr marL="68580" marR="68580" marT="34290" marB="3429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885D8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594398"/>
                  </a:ext>
                </a:extLst>
              </a:tr>
              <a:tr h="2255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Infrastructure-less network extensions and embedded networks</a:t>
                      </a:r>
                    </a:p>
                  </a:txBody>
                  <a:tcPr marL="68580" marR="68580" marT="34290" marB="3429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885D8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6896962"/>
                  </a:ext>
                </a:extLst>
              </a:tr>
              <a:tr h="31583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Local coverage for temporary usage</a:t>
                      </a:r>
                    </a:p>
                  </a:txBody>
                  <a:tcPr marL="68580" marR="68580" marT="34290" marB="3429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885D8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3319807"/>
                  </a:ext>
                </a:extLst>
              </a:tr>
              <a:tr h="1353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Small coverage, low power micro-network in networks for production &amp; manufacturing</a:t>
                      </a:r>
                    </a:p>
                  </a:txBody>
                  <a:tcPr marL="68580" marR="68580" marT="34290" marB="3429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885D8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1396249"/>
                  </a:ext>
                </a:extLst>
              </a:tr>
              <a:tr h="1353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 75 Bold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Automatic public security</a:t>
                      </a:r>
                    </a:p>
                  </a:txBody>
                  <a:tcPr marL="68580" marR="68580" marT="34290" marB="3429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885D8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3302120"/>
                  </a:ext>
                </a:extLst>
              </a:tr>
            </a:tbl>
          </a:graphicData>
        </a:graphic>
      </p:graphicFrame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799C4ACB-0022-4777-B817-EEEEC4B0B2E8}"/>
              </a:ext>
            </a:extLst>
          </p:cNvPr>
          <p:cNvGrpSpPr/>
          <p:nvPr/>
        </p:nvGrpSpPr>
        <p:grpSpPr>
          <a:xfrm>
            <a:off x="1498153" y="1699627"/>
            <a:ext cx="7689050" cy="3056681"/>
            <a:chOff x="1498153" y="1699627"/>
            <a:chExt cx="7689050" cy="3056681"/>
          </a:xfrm>
        </p:grpSpPr>
        <p:sp>
          <p:nvSpPr>
            <p:cNvPr id="2" name="Rechteck 1">
              <a:extLst>
                <a:ext uri="{FF2B5EF4-FFF2-40B4-BE49-F238E27FC236}">
                  <a16:creationId xmlns:a16="http://schemas.microsoft.com/office/drawing/2014/main" id="{2E35FEA5-F322-4A1E-85E6-61DB7E65BE18}"/>
                </a:ext>
              </a:extLst>
            </p:cNvPr>
            <p:cNvSpPr/>
            <p:nvPr/>
          </p:nvSpPr>
          <p:spPr>
            <a:xfrm>
              <a:off x="1498153" y="2588861"/>
              <a:ext cx="1410734" cy="702785"/>
            </a:xfrm>
            <a:prstGeom prst="rect">
              <a:avLst/>
            </a:prstGeom>
            <a:noFill/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6F729334-4A12-4410-8B29-FD003E0D7266}"/>
                </a:ext>
              </a:extLst>
            </p:cNvPr>
            <p:cNvSpPr/>
            <p:nvPr/>
          </p:nvSpPr>
          <p:spPr>
            <a:xfrm>
              <a:off x="7780460" y="1699627"/>
              <a:ext cx="1406743" cy="680837"/>
            </a:xfrm>
            <a:prstGeom prst="rect">
              <a:avLst/>
            </a:prstGeom>
            <a:noFill/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DE0A20A3-9090-4D34-83B4-B996E9BFEB99}"/>
                </a:ext>
              </a:extLst>
            </p:cNvPr>
            <p:cNvSpPr/>
            <p:nvPr/>
          </p:nvSpPr>
          <p:spPr>
            <a:xfrm>
              <a:off x="1532380" y="4413247"/>
              <a:ext cx="1342279" cy="343061"/>
            </a:xfrm>
            <a:prstGeom prst="rect">
              <a:avLst/>
            </a:prstGeom>
            <a:noFill/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4" name="Gerader Verbinder 53">
              <a:extLst>
                <a:ext uri="{FF2B5EF4-FFF2-40B4-BE49-F238E27FC236}">
                  <a16:creationId xmlns:a16="http://schemas.microsoft.com/office/drawing/2014/main" id="{5D74B005-98F3-4EE8-BD86-62640C219AA5}"/>
                </a:ext>
              </a:extLst>
            </p:cNvPr>
            <p:cNvCxnSpPr>
              <a:cxnSpLocks/>
              <a:stCxn id="53" idx="3"/>
              <a:endCxn id="52" idx="1"/>
            </p:cNvCxnSpPr>
            <p:nvPr/>
          </p:nvCxnSpPr>
          <p:spPr>
            <a:xfrm flipV="1">
              <a:off x="2874659" y="2040046"/>
              <a:ext cx="4905801" cy="2544732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r Verbinder 54">
              <a:extLst>
                <a:ext uri="{FF2B5EF4-FFF2-40B4-BE49-F238E27FC236}">
                  <a16:creationId xmlns:a16="http://schemas.microsoft.com/office/drawing/2014/main" id="{9A119F21-C823-4533-A105-89863867E67D}"/>
                </a:ext>
              </a:extLst>
            </p:cNvPr>
            <p:cNvCxnSpPr>
              <a:cxnSpLocks/>
              <a:stCxn id="2" idx="3"/>
              <a:endCxn id="52" idx="1"/>
            </p:cNvCxnSpPr>
            <p:nvPr/>
          </p:nvCxnSpPr>
          <p:spPr>
            <a:xfrm flipV="1">
              <a:off x="2908887" y="2040046"/>
              <a:ext cx="4871573" cy="900208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r Verbinder 57">
              <a:extLst>
                <a:ext uri="{FF2B5EF4-FFF2-40B4-BE49-F238E27FC236}">
                  <a16:creationId xmlns:a16="http://schemas.microsoft.com/office/drawing/2014/main" id="{3D118E5B-50AB-42B6-8791-2A05A8327C42}"/>
                </a:ext>
              </a:extLst>
            </p:cNvPr>
            <p:cNvCxnSpPr>
              <a:cxnSpLocks/>
              <a:stCxn id="53" idx="0"/>
              <a:endCxn id="2" idx="2"/>
            </p:cNvCxnSpPr>
            <p:nvPr/>
          </p:nvCxnSpPr>
          <p:spPr>
            <a:xfrm flipV="1">
              <a:off x="2203520" y="3291646"/>
              <a:ext cx="0" cy="1121601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2" name="Textfeld 61">
            <a:extLst>
              <a:ext uri="{FF2B5EF4-FFF2-40B4-BE49-F238E27FC236}">
                <a16:creationId xmlns:a16="http://schemas.microsoft.com/office/drawing/2014/main" id="{2006F364-4048-4D1F-B899-5E38684293F0}"/>
              </a:ext>
            </a:extLst>
          </p:cNvPr>
          <p:cNvSpPr txBox="1"/>
          <p:nvPr/>
        </p:nvSpPr>
        <p:spPr>
          <a:xfrm>
            <a:off x="3253257" y="3000637"/>
            <a:ext cx="176202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accent2"/>
                </a:solidFill>
              </a:rPr>
              <a:t>Dependability </a:t>
            </a:r>
            <a:br>
              <a:rPr lang="en-US" b="1" dirty="0">
                <a:solidFill>
                  <a:schemeClr val="accent2"/>
                </a:solidFill>
              </a:rPr>
            </a:br>
            <a:r>
              <a:rPr lang="en-US" b="1" dirty="0">
                <a:solidFill>
                  <a:schemeClr val="accent2"/>
                </a:solidFill>
              </a:rPr>
              <a:t>in I4.0</a:t>
            </a:r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34E3E91E-C222-4420-A3C3-38A1DAC09DD3}"/>
              </a:ext>
            </a:extLst>
          </p:cNvPr>
          <p:cNvSpPr txBox="1"/>
          <p:nvPr/>
        </p:nvSpPr>
        <p:spPr>
          <a:xfrm>
            <a:off x="5349994" y="4297727"/>
            <a:ext cx="255711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accent3"/>
                </a:solidFill>
              </a:rPr>
              <a:t>Sustainable coverage</a:t>
            </a:r>
            <a:br>
              <a:rPr lang="en-US" b="1" dirty="0">
                <a:solidFill>
                  <a:schemeClr val="accent3"/>
                </a:solidFill>
              </a:rPr>
            </a:br>
            <a:r>
              <a:rPr lang="en-US" b="1" dirty="0">
                <a:solidFill>
                  <a:schemeClr val="accent3"/>
                </a:solidFill>
              </a:rPr>
              <a:t> in IoT</a:t>
            </a:r>
          </a:p>
        </p:txBody>
      </p:sp>
      <p:grpSp>
        <p:nvGrpSpPr>
          <p:cNvPr id="61" name="Gruppieren 60">
            <a:extLst>
              <a:ext uri="{FF2B5EF4-FFF2-40B4-BE49-F238E27FC236}">
                <a16:creationId xmlns:a16="http://schemas.microsoft.com/office/drawing/2014/main" id="{B1C5E547-9401-4A58-A566-7D01F65188CD}"/>
              </a:ext>
            </a:extLst>
          </p:cNvPr>
          <p:cNvGrpSpPr/>
          <p:nvPr/>
        </p:nvGrpSpPr>
        <p:grpSpPr>
          <a:xfrm>
            <a:off x="1532380" y="2912613"/>
            <a:ext cx="8635554" cy="3318734"/>
            <a:chOff x="1532380" y="2912613"/>
            <a:chExt cx="8635554" cy="3318734"/>
          </a:xfrm>
        </p:grpSpPr>
        <p:sp>
          <p:nvSpPr>
            <p:cNvPr id="64" name="Rechteck 63">
              <a:extLst>
                <a:ext uri="{FF2B5EF4-FFF2-40B4-BE49-F238E27FC236}">
                  <a16:creationId xmlns:a16="http://schemas.microsoft.com/office/drawing/2014/main" id="{9570BD4A-B0AC-4CDA-B45D-4953BD2A3C84}"/>
                </a:ext>
              </a:extLst>
            </p:cNvPr>
            <p:cNvSpPr/>
            <p:nvPr/>
          </p:nvSpPr>
          <p:spPr>
            <a:xfrm>
              <a:off x="8487657" y="2912613"/>
              <a:ext cx="1680277" cy="358193"/>
            </a:xfrm>
            <a:prstGeom prst="rect">
              <a:avLst/>
            </a:prstGeom>
            <a:noFill/>
            <a:ln w="381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57A5F3B6-52C2-4406-AD9F-60419A112F74}"/>
                </a:ext>
              </a:extLst>
            </p:cNvPr>
            <p:cNvSpPr/>
            <p:nvPr/>
          </p:nvSpPr>
          <p:spPr>
            <a:xfrm>
              <a:off x="8057365" y="5664057"/>
              <a:ext cx="1419903" cy="567290"/>
            </a:xfrm>
            <a:prstGeom prst="rect">
              <a:avLst/>
            </a:prstGeom>
            <a:noFill/>
            <a:ln w="381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" name="Rechteck 65">
              <a:extLst>
                <a:ext uri="{FF2B5EF4-FFF2-40B4-BE49-F238E27FC236}">
                  <a16:creationId xmlns:a16="http://schemas.microsoft.com/office/drawing/2014/main" id="{2783F5A2-5A7A-471F-ABE6-4518B485D73B}"/>
                </a:ext>
              </a:extLst>
            </p:cNvPr>
            <p:cNvSpPr/>
            <p:nvPr/>
          </p:nvSpPr>
          <p:spPr>
            <a:xfrm>
              <a:off x="1532380" y="4786541"/>
              <a:ext cx="1342279" cy="320663"/>
            </a:xfrm>
            <a:prstGeom prst="rect">
              <a:avLst/>
            </a:prstGeom>
            <a:noFill/>
            <a:ln w="381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67" name="Gerader Verbinder 66">
              <a:extLst>
                <a:ext uri="{FF2B5EF4-FFF2-40B4-BE49-F238E27FC236}">
                  <a16:creationId xmlns:a16="http://schemas.microsoft.com/office/drawing/2014/main" id="{56F6FA20-1FE1-4B75-BB1F-1DCBFE51AA1F}"/>
                </a:ext>
              </a:extLst>
            </p:cNvPr>
            <p:cNvCxnSpPr>
              <a:cxnSpLocks/>
              <a:stCxn id="66" idx="3"/>
              <a:endCxn id="64" idx="1"/>
            </p:cNvCxnSpPr>
            <p:nvPr/>
          </p:nvCxnSpPr>
          <p:spPr>
            <a:xfrm flipV="1">
              <a:off x="2874659" y="3091710"/>
              <a:ext cx="5612998" cy="1855163"/>
            </a:xfrm>
            <a:prstGeom prst="line">
              <a:avLst/>
            </a:prstGeom>
            <a:ln w="381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r Verbinder 69">
              <a:extLst>
                <a:ext uri="{FF2B5EF4-FFF2-40B4-BE49-F238E27FC236}">
                  <a16:creationId xmlns:a16="http://schemas.microsoft.com/office/drawing/2014/main" id="{FB3FC74A-A379-4BFF-804F-5A56AC11FBD2}"/>
                </a:ext>
              </a:extLst>
            </p:cNvPr>
            <p:cNvCxnSpPr>
              <a:cxnSpLocks/>
              <a:stCxn id="65" idx="0"/>
              <a:endCxn id="64" idx="2"/>
            </p:cNvCxnSpPr>
            <p:nvPr/>
          </p:nvCxnSpPr>
          <p:spPr>
            <a:xfrm flipV="1">
              <a:off x="8767317" y="3270806"/>
              <a:ext cx="560479" cy="2393251"/>
            </a:xfrm>
            <a:prstGeom prst="line">
              <a:avLst/>
            </a:prstGeom>
            <a:ln w="381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60726D10-CD73-4A7F-9AD6-537C17328DBA}"/>
                </a:ext>
              </a:extLst>
            </p:cNvPr>
            <p:cNvCxnSpPr>
              <a:cxnSpLocks/>
              <a:stCxn id="65" idx="1"/>
              <a:endCxn id="66" idx="3"/>
            </p:cNvCxnSpPr>
            <p:nvPr/>
          </p:nvCxnSpPr>
          <p:spPr>
            <a:xfrm flipH="1" flipV="1">
              <a:off x="2874659" y="4946873"/>
              <a:ext cx="5182706" cy="1000829"/>
            </a:xfrm>
            <a:prstGeom prst="line">
              <a:avLst/>
            </a:prstGeom>
            <a:ln w="381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3" name="Textfeld 92">
            <a:extLst>
              <a:ext uri="{FF2B5EF4-FFF2-40B4-BE49-F238E27FC236}">
                <a16:creationId xmlns:a16="http://schemas.microsoft.com/office/drawing/2014/main" id="{A85F57EB-58F5-46E8-8BA2-341B234021FE}"/>
              </a:ext>
            </a:extLst>
          </p:cNvPr>
          <p:cNvSpPr txBox="1"/>
          <p:nvPr/>
        </p:nvSpPr>
        <p:spPr>
          <a:xfrm>
            <a:off x="9240721" y="2146690"/>
            <a:ext cx="130516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/>
              <a:t>(*) aspects included</a:t>
            </a:r>
          </a:p>
        </p:txBody>
      </p:sp>
      <p:pic>
        <p:nvPicPr>
          <p:cNvPr id="142" name="Grafik 141">
            <a:extLst>
              <a:ext uri="{FF2B5EF4-FFF2-40B4-BE49-F238E27FC236}">
                <a16:creationId xmlns:a16="http://schemas.microsoft.com/office/drawing/2014/main" id="{5479C24C-D473-47B7-95F3-C374FF28BC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3090" y="1564479"/>
            <a:ext cx="898186" cy="870657"/>
          </a:xfrm>
          <a:prstGeom prst="rect">
            <a:avLst/>
          </a:prstGeom>
        </p:spPr>
      </p:pic>
      <p:pic>
        <p:nvPicPr>
          <p:cNvPr id="148" name="Grafik 147">
            <a:extLst>
              <a:ext uri="{FF2B5EF4-FFF2-40B4-BE49-F238E27FC236}">
                <a16:creationId xmlns:a16="http://schemas.microsoft.com/office/drawing/2014/main" id="{EE3110AE-CF2E-441E-AE39-F79C7DFABC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92134" y="892009"/>
            <a:ext cx="898186" cy="867215"/>
          </a:xfrm>
          <a:prstGeom prst="rect">
            <a:avLst/>
          </a:prstGeom>
        </p:spPr>
      </p:pic>
      <p:pic>
        <p:nvPicPr>
          <p:cNvPr id="154" name="Grafik 153">
            <a:extLst>
              <a:ext uri="{FF2B5EF4-FFF2-40B4-BE49-F238E27FC236}">
                <a16:creationId xmlns:a16="http://schemas.microsoft.com/office/drawing/2014/main" id="{A4C569FB-6C5A-477C-B711-BBAE325F5F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3408" y="5013679"/>
            <a:ext cx="894745" cy="867215"/>
          </a:xfrm>
          <a:prstGeom prst="rect">
            <a:avLst/>
          </a:prstGeom>
        </p:spPr>
      </p:pic>
      <p:pic>
        <p:nvPicPr>
          <p:cNvPr id="159" name="Grafik 158">
            <a:extLst>
              <a:ext uri="{FF2B5EF4-FFF2-40B4-BE49-F238E27FC236}">
                <a16:creationId xmlns:a16="http://schemas.microsoft.com/office/drawing/2014/main" id="{9025ED3D-F617-474F-AFF1-C7E4F5E6C61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88655" y="5447286"/>
            <a:ext cx="898186" cy="867215"/>
          </a:xfrm>
          <a:prstGeom prst="rect">
            <a:avLst/>
          </a:prstGeom>
        </p:spPr>
      </p:pic>
      <p:pic>
        <p:nvPicPr>
          <p:cNvPr id="170" name="Grafik 169">
            <a:extLst>
              <a:ext uri="{FF2B5EF4-FFF2-40B4-BE49-F238E27FC236}">
                <a16:creationId xmlns:a16="http://schemas.microsoft.com/office/drawing/2014/main" id="{A198190F-EEAE-41E9-8378-6EC5A30E5B0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244754" y="2317926"/>
            <a:ext cx="898186" cy="870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64991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EDA2E8E9-22AB-4AD1-9C82-3D348D05D6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515" y="-1"/>
            <a:ext cx="10247270" cy="957059"/>
          </a:xfrm>
        </p:spPr>
        <p:txBody>
          <a:bodyPr anchor="b">
            <a:normAutofit/>
          </a:bodyPr>
          <a:lstStyle/>
          <a:p>
            <a:r>
              <a:rPr lang="en-US" dirty="0"/>
              <a:t>Focus on dependability and sustainable coverage</a:t>
            </a:r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1F8F06D6-2F03-4053-89D3-F6BAB19E987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i="1" dirty="0">
                <a:solidFill>
                  <a:schemeClr val="accent4"/>
                </a:solidFill>
              </a:rPr>
              <a:t>Dependability</a:t>
            </a:r>
            <a:r>
              <a:rPr lang="en-US" dirty="0"/>
              <a:t> is the "ability to perform as and when required". </a:t>
            </a:r>
            <a:br>
              <a:rPr lang="en-US" dirty="0"/>
            </a:br>
            <a:r>
              <a:rPr lang="en-US" dirty="0"/>
              <a:t>The underlying KPIs serve as an indicator for the Hexa-X key value </a:t>
            </a:r>
            <a:r>
              <a:rPr lang="en-US" b="1" i="1" dirty="0">
                <a:solidFill>
                  <a:schemeClr val="accent4"/>
                </a:solidFill>
              </a:rPr>
              <a:t>trustworthiness</a:t>
            </a:r>
            <a:r>
              <a:rPr lang="en-US" dirty="0"/>
              <a:t>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sz="1200" b="1" i="1" dirty="0">
              <a:solidFill>
                <a:schemeClr val="accent1"/>
              </a:solidFill>
            </a:endParaRPr>
          </a:p>
          <a:p>
            <a:pPr marL="0" indent="0">
              <a:buNone/>
            </a:pPr>
            <a:r>
              <a:rPr lang="en-US" b="1" i="1" dirty="0">
                <a:solidFill>
                  <a:schemeClr val="accent1"/>
                </a:solidFill>
              </a:rPr>
              <a:t>Sustainable coverage </a:t>
            </a:r>
            <a:r>
              <a:rPr lang="en-US" dirty="0"/>
              <a:t>is the Hexa-X ambition to target spatial coverage and </a:t>
            </a:r>
            <a:r>
              <a:rPr lang="en-US" b="1" i="1" dirty="0">
                <a:solidFill>
                  <a:schemeClr val="accent1"/>
                </a:solidFill>
              </a:rPr>
              <a:t>inclusion</a:t>
            </a:r>
            <a:r>
              <a:rPr lang="en-US" i="1" dirty="0"/>
              <a:t> </a:t>
            </a:r>
            <a:r>
              <a:rPr lang="en-US" dirty="0"/>
              <a:t>under explicit consideration of </a:t>
            </a:r>
            <a:r>
              <a:rPr lang="en-US" b="1" i="1" dirty="0">
                <a:solidFill>
                  <a:schemeClr val="accent1"/>
                </a:solidFill>
              </a:rPr>
              <a:t>sustainability</a:t>
            </a:r>
            <a:r>
              <a:rPr lang="en-US" i="1" dirty="0"/>
              <a:t> </a:t>
            </a:r>
            <a:r>
              <a:rPr lang="en-US" dirty="0"/>
              <a:t>aspects and capabilities. </a:t>
            </a:r>
          </a:p>
          <a:p>
            <a:pPr marL="0" indent="0">
              <a:buNone/>
            </a:pPr>
            <a:endParaRPr lang="en-US" dirty="0"/>
          </a:p>
          <a:p>
            <a:endParaRPr lang="de-DE" dirty="0"/>
          </a:p>
          <a:p>
            <a:endParaRPr lang="en-US" dirty="0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F6B328D6-07A6-48AC-83A6-CDE070EC9144}"/>
              </a:ext>
            </a:extLst>
          </p:cNvPr>
          <p:cNvGrpSpPr/>
          <p:nvPr/>
        </p:nvGrpSpPr>
        <p:grpSpPr>
          <a:xfrm>
            <a:off x="1063132" y="1849549"/>
            <a:ext cx="7440093" cy="1566933"/>
            <a:chOff x="214917" y="1910041"/>
            <a:chExt cx="11826447" cy="2490728"/>
          </a:xfrm>
        </p:grpSpPr>
        <p:sp>
          <p:nvSpPr>
            <p:cNvPr id="19" name="Pfeil: nach links 18">
              <a:extLst>
                <a:ext uri="{FF2B5EF4-FFF2-40B4-BE49-F238E27FC236}">
                  <a16:creationId xmlns:a16="http://schemas.microsoft.com/office/drawing/2014/main" id="{D1808CBF-AF80-408C-8336-736E1927624E}"/>
                </a:ext>
              </a:extLst>
            </p:cNvPr>
            <p:cNvSpPr/>
            <p:nvPr/>
          </p:nvSpPr>
          <p:spPr>
            <a:xfrm>
              <a:off x="1323107" y="2727908"/>
              <a:ext cx="4222767" cy="944413"/>
            </a:xfrm>
            <a:prstGeom prst="leftArrow">
              <a:avLst/>
            </a:prstGeom>
            <a:solidFill>
              <a:srgbClr val="6666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50" dirty="0">
                  <a:solidFill>
                    <a:schemeClr val="tx1"/>
                  </a:solidFill>
                </a:rPr>
                <a:t>Extend end-to-end for applications</a:t>
              </a:r>
            </a:p>
          </p:txBody>
        </p:sp>
        <p:sp>
          <p:nvSpPr>
            <p:cNvPr id="20" name="Pfeil: nach rechts 19">
              <a:extLst>
                <a:ext uri="{FF2B5EF4-FFF2-40B4-BE49-F238E27FC236}">
                  <a16:creationId xmlns:a16="http://schemas.microsoft.com/office/drawing/2014/main" id="{BF02B359-7576-4900-91CA-DEB695F2F669}"/>
                </a:ext>
              </a:extLst>
            </p:cNvPr>
            <p:cNvSpPr/>
            <p:nvPr/>
          </p:nvSpPr>
          <p:spPr>
            <a:xfrm>
              <a:off x="6521433" y="2734718"/>
              <a:ext cx="4035730" cy="944413"/>
            </a:xfrm>
            <a:prstGeom prst="rightArrow">
              <a:avLst/>
            </a:prstGeom>
            <a:solidFill>
              <a:srgbClr val="6666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1050" dirty="0">
                  <a:solidFill>
                    <a:schemeClr val="tx1"/>
                  </a:solidFill>
                </a:rPr>
                <a:t>Increase for individual services</a:t>
              </a:r>
            </a:p>
          </p:txBody>
        </p:sp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DD5EBD52-7DF1-4421-9839-3A2131CDDDF9}"/>
                </a:ext>
              </a:extLst>
            </p:cNvPr>
            <p:cNvSpPr/>
            <p:nvPr/>
          </p:nvSpPr>
          <p:spPr>
            <a:xfrm>
              <a:off x="10613808" y="2833833"/>
              <a:ext cx="1427556" cy="732562"/>
            </a:xfrm>
            <a:prstGeom prst="ellipse">
              <a:avLst/>
            </a:prstGeom>
            <a:solidFill>
              <a:srgbClr val="33335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rIns="0" rtlCol="0" anchor="ctr"/>
            <a:lstStyle/>
            <a:p>
              <a:pPr algn="ctr"/>
              <a:r>
                <a:rPr lang="en-US" sz="1000" dirty="0"/>
                <a:t>Communication</a:t>
              </a:r>
            </a:p>
          </p:txBody>
        </p:sp>
        <p:sp>
          <p:nvSpPr>
            <p:cNvPr id="26" name="Ellipse 25">
              <a:extLst>
                <a:ext uri="{FF2B5EF4-FFF2-40B4-BE49-F238E27FC236}">
                  <a16:creationId xmlns:a16="http://schemas.microsoft.com/office/drawing/2014/main" id="{6615FA39-BAD1-4921-9840-AF5EB7D5FE17}"/>
                </a:ext>
              </a:extLst>
            </p:cNvPr>
            <p:cNvSpPr/>
            <p:nvPr/>
          </p:nvSpPr>
          <p:spPr>
            <a:xfrm>
              <a:off x="9677918" y="1910041"/>
              <a:ext cx="1427556" cy="732562"/>
            </a:xfrm>
            <a:prstGeom prst="ellipse">
              <a:avLst/>
            </a:prstGeom>
            <a:solidFill>
              <a:srgbClr val="33335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rIns="0" rtlCol="0" anchor="ctr"/>
            <a:lstStyle/>
            <a:p>
              <a:pPr algn="ctr"/>
              <a:r>
                <a:rPr lang="en-US" sz="1000" err="1"/>
                <a:t>AIaaS</a:t>
              </a:r>
              <a:r>
                <a:rPr lang="en-US" sz="1000"/>
                <a:t>,</a:t>
              </a:r>
              <a:br>
                <a:rPr lang="en-US" sz="1000"/>
              </a:br>
              <a:r>
                <a:rPr lang="en-US" sz="1000"/>
                <a:t>CaaS</a:t>
              </a:r>
            </a:p>
          </p:txBody>
        </p:sp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BCB1AB1E-C134-4CDC-8C5A-2415EDF94A76}"/>
                </a:ext>
              </a:extLst>
            </p:cNvPr>
            <p:cNvSpPr/>
            <p:nvPr/>
          </p:nvSpPr>
          <p:spPr>
            <a:xfrm>
              <a:off x="9843385" y="3668207"/>
              <a:ext cx="1427556" cy="732562"/>
            </a:xfrm>
            <a:prstGeom prst="ellipse">
              <a:avLst/>
            </a:prstGeom>
            <a:solidFill>
              <a:srgbClr val="33335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rIns="0" rtlCol="0" anchor="ctr"/>
            <a:lstStyle/>
            <a:p>
              <a:pPr algn="ctr"/>
              <a:r>
                <a:rPr lang="en-US" sz="1000"/>
                <a:t>Positioning,</a:t>
              </a:r>
            </a:p>
            <a:p>
              <a:pPr algn="ctr"/>
              <a:r>
                <a:rPr lang="en-US" sz="1000"/>
                <a:t>Sensing</a:t>
              </a:r>
            </a:p>
          </p:txBody>
        </p: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8A03CE8E-E599-48B8-8AC5-C1152543BB1E}"/>
                </a:ext>
              </a:extLst>
            </p:cNvPr>
            <p:cNvGrpSpPr/>
            <p:nvPr/>
          </p:nvGrpSpPr>
          <p:grpSpPr>
            <a:xfrm>
              <a:off x="5071064" y="2361226"/>
              <a:ext cx="1925180" cy="1677773"/>
              <a:chOff x="4350327" y="3096720"/>
              <a:chExt cx="1446416" cy="1260535"/>
            </a:xfrm>
          </p:grpSpPr>
          <p:sp>
            <p:nvSpPr>
              <p:cNvPr id="29" name="Sechseck 28">
                <a:extLst>
                  <a:ext uri="{FF2B5EF4-FFF2-40B4-BE49-F238E27FC236}">
                    <a16:creationId xmlns:a16="http://schemas.microsoft.com/office/drawing/2014/main" id="{73964475-6601-4E94-8275-37F06729BFBB}"/>
                  </a:ext>
                </a:extLst>
              </p:cNvPr>
              <p:cNvSpPr/>
              <p:nvPr/>
            </p:nvSpPr>
            <p:spPr>
              <a:xfrm>
                <a:off x="4350327" y="3110345"/>
                <a:ext cx="1446416" cy="1246910"/>
              </a:xfrm>
              <a:prstGeom prst="hexagon">
                <a:avLst/>
              </a:prstGeom>
              <a:solidFill>
                <a:schemeClr val="bg2"/>
              </a:solidFill>
              <a:ln w="381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 anchorCtr="0"/>
              <a:lstStyle/>
              <a:p>
                <a:pPr algn="ctr"/>
                <a:r>
                  <a:rPr lang="en-US" sz="1200" b="1"/>
                  <a:t>Dependability</a:t>
                </a:r>
                <a:endParaRPr lang="en-US" sz="1050" b="1"/>
              </a:p>
            </p:txBody>
          </p:sp>
          <p:pic>
            <p:nvPicPr>
              <p:cNvPr id="30" name="Grafik 29" descr="Schild Häkchen mit einfarbiger Füllung">
                <a:extLst>
                  <a:ext uri="{FF2B5EF4-FFF2-40B4-BE49-F238E27FC236}">
                    <a16:creationId xmlns:a16="http://schemas.microsoft.com/office/drawing/2014/main" id="{6F1510BE-0B51-45CD-9535-8A381E1326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4789649" y="3096720"/>
                <a:ext cx="567771" cy="567771"/>
              </a:xfrm>
              <a:prstGeom prst="rect">
                <a:avLst/>
              </a:prstGeom>
            </p:spPr>
          </p:pic>
        </p:grpSp>
        <p:sp>
          <p:nvSpPr>
            <p:cNvPr id="31" name="Sechseck 30">
              <a:extLst>
                <a:ext uri="{FF2B5EF4-FFF2-40B4-BE49-F238E27FC236}">
                  <a16:creationId xmlns:a16="http://schemas.microsoft.com/office/drawing/2014/main" id="{53E2CD53-6382-4289-A0D9-BBCCB28B19EC}"/>
                </a:ext>
              </a:extLst>
            </p:cNvPr>
            <p:cNvSpPr/>
            <p:nvPr/>
          </p:nvSpPr>
          <p:spPr>
            <a:xfrm>
              <a:off x="215823" y="2039464"/>
              <a:ext cx="1281374" cy="1104633"/>
            </a:xfrm>
            <a:prstGeom prst="hexagon">
              <a:avLst/>
            </a:prstGeom>
            <a:noFill/>
            <a:ln w="38100">
              <a:solidFill>
                <a:schemeClr val="accent2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500078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/>
            <a:lstStyle/>
            <a:p>
              <a:pPr algn="ctr"/>
              <a:r>
                <a:rPr lang="en-US" sz="1050" dirty="0"/>
                <a:t>Resilience</a:t>
              </a:r>
            </a:p>
          </p:txBody>
        </p:sp>
        <p:sp>
          <p:nvSpPr>
            <p:cNvPr id="32" name="Sechseck 31">
              <a:extLst>
                <a:ext uri="{FF2B5EF4-FFF2-40B4-BE49-F238E27FC236}">
                  <a16:creationId xmlns:a16="http://schemas.microsoft.com/office/drawing/2014/main" id="{188CB43C-71E9-48EB-91F5-A7CE2CCFA13E}"/>
                </a:ext>
              </a:extLst>
            </p:cNvPr>
            <p:cNvSpPr/>
            <p:nvPr/>
          </p:nvSpPr>
          <p:spPr>
            <a:xfrm>
              <a:off x="214917" y="3259331"/>
              <a:ext cx="1281374" cy="1104633"/>
            </a:xfrm>
            <a:prstGeom prst="hexagon">
              <a:avLst/>
            </a:prstGeom>
            <a:noFill/>
            <a:ln w="38100">
              <a:solidFill>
                <a:schemeClr val="accent2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500078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/>
            <a:lstStyle/>
            <a:p>
              <a:pPr algn="ctr"/>
              <a:r>
                <a:rPr lang="en-US" sz="1050"/>
                <a:t>Productivity</a:t>
              </a:r>
            </a:p>
          </p:txBody>
        </p:sp>
      </p:grpSp>
      <p:pic>
        <p:nvPicPr>
          <p:cNvPr id="38" name="Grafik 37" descr="Waage der Justitia Silhouette">
            <a:extLst>
              <a:ext uri="{FF2B5EF4-FFF2-40B4-BE49-F238E27FC236}">
                <a16:creationId xmlns:a16="http://schemas.microsoft.com/office/drawing/2014/main" id="{CE62433B-440E-40DE-9292-152B99F2C0A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28730" y="4751148"/>
            <a:ext cx="914400" cy="914400"/>
          </a:xfrm>
          <a:prstGeom prst="rect">
            <a:avLst/>
          </a:prstGeom>
        </p:spPr>
      </p:pic>
      <p:sp>
        <p:nvSpPr>
          <p:cNvPr id="39" name="Textfeld 38">
            <a:extLst>
              <a:ext uri="{FF2B5EF4-FFF2-40B4-BE49-F238E27FC236}">
                <a16:creationId xmlns:a16="http://schemas.microsoft.com/office/drawing/2014/main" id="{78780412-100E-458B-B81A-01B7D7A83AF4}"/>
              </a:ext>
            </a:extLst>
          </p:cNvPr>
          <p:cNvSpPr txBox="1"/>
          <p:nvPr/>
        </p:nvSpPr>
        <p:spPr>
          <a:xfrm>
            <a:off x="4669564" y="4780447"/>
            <a:ext cx="257942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chemeClr val="accent1"/>
                </a:solidFill>
              </a:rPr>
              <a:t>Value</a:t>
            </a:r>
            <a:r>
              <a:rPr lang="en-US" sz="1600" b="1" dirty="0"/>
              <a:t> </a:t>
            </a:r>
            <a:r>
              <a:rPr lang="en-US" sz="1600" dirty="0"/>
              <a:t>of generated insight</a:t>
            </a: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FDC26DE9-9233-452E-BADB-C640B9514A94}"/>
              </a:ext>
            </a:extLst>
          </p:cNvPr>
          <p:cNvSpPr txBox="1"/>
          <p:nvPr/>
        </p:nvSpPr>
        <p:spPr>
          <a:xfrm>
            <a:off x="822141" y="4777123"/>
            <a:ext cx="249940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chemeClr val="accent1"/>
                </a:solidFill>
              </a:rPr>
              <a:t>Cost</a:t>
            </a:r>
            <a:r>
              <a:rPr lang="en-US" sz="1600" b="1" dirty="0"/>
              <a:t> </a:t>
            </a:r>
            <a:r>
              <a:rPr lang="en-US" sz="1600" dirty="0"/>
              <a:t>of generated insight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D3B4E187-8083-4DEC-B7CA-61F9CDA8D298}"/>
              </a:ext>
            </a:extLst>
          </p:cNvPr>
          <p:cNvSpPr txBox="1"/>
          <p:nvPr/>
        </p:nvSpPr>
        <p:spPr>
          <a:xfrm>
            <a:off x="4669564" y="5298321"/>
            <a:ext cx="264091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reduction in:</a:t>
            </a:r>
          </a:p>
          <a:p>
            <a:r>
              <a:rPr lang="en-US" sz="1200" dirty="0"/>
              <a:t>- overall energy consumption</a:t>
            </a:r>
          </a:p>
          <a:p>
            <a:r>
              <a:rPr lang="en-US" sz="1200" dirty="0"/>
              <a:t>- environmental pollution</a:t>
            </a:r>
          </a:p>
          <a:p>
            <a:r>
              <a:rPr lang="en-US" sz="1200" dirty="0"/>
              <a:t>- electronic waste</a:t>
            </a:r>
          </a:p>
          <a:p>
            <a:r>
              <a:rPr lang="en-US" sz="1200" dirty="0"/>
              <a:t>- EMF exposure</a:t>
            </a:r>
          </a:p>
          <a:p>
            <a:r>
              <a:rPr lang="en-US" sz="1200" dirty="0"/>
              <a:t>- unnecessary behavior (e.g., traffic)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9475FF87-2621-45D6-9FE3-2C7F527A8ABC}"/>
              </a:ext>
            </a:extLst>
          </p:cNvPr>
          <p:cNvSpPr txBox="1"/>
          <p:nvPr/>
        </p:nvSpPr>
        <p:spPr>
          <a:xfrm>
            <a:off x="838182" y="5292837"/>
            <a:ext cx="250260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increase in:</a:t>
            </a:r>
          </a:p>
          <a:p>
            <a:r>
              <a:rPr lang="en-US" sz="1200" dirty="0"/>
              <a:t>- required computational power</a:t>
            </a:r>
          </a:p>
          <a:p>
            <a:r>
              <a:rPr lang="en-US" sz="1200" dirty="0"/>
              <a:t>- energy consumption</a:t>
            </a:r>
            <a:br>
              <a:rPr lang="en-US" sz="1200" dirty="0"/>
            </a:br>
            <a:r>
              <a:rPr lang="en-US" sz="1200" dirty="0"/>
              <a:t>- hardware production/distribution 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856E0379-D7E1-4F43-9503-2E8A9FF7996A}"/>
              </a:ext>
            </a:extLst>
          </p:cNvPr>
          <p:cNvSpPr txBox="1"/>
          <p:nvPr/>
        </p:nvSpPr>
        <p:spPr>
          <a:xfrm>
            <a:off x="8024048" y="5377474"/>
            <a:ext cx="3976371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accent1"/>
                </a:solidFill>
              </a:rPr>
              <a:t>Flexibility</a:t>
            </a:r>
            <a:r>
              <a:rPr lang="en-US" sz="1600" b="1" dirty="0"/>
              <a:t> </a:t>
            </a:r>
            <a:r>
              <a:rPr lang="en-US" sz="1600" dirty="0"/>
              <a:t>- Ability to adapt to changing </a:t>
            </a:r>
            <a:br>
              <a:rPr lang="en-US" sz="1600" dirty="0"/>
            </a:br>
            <a:r>
              <a:rPr lang="en-US" sz="1600" dirty="0"/>
              <a:t>tasks related to sustainable coverage </a:t>
            </a:r>
            <a:br>
              <a:rPr lang="en-US" sz="1400" dirty="0"/>
            </a:br>
            <a:endParaRPr lang="en-US" sz="1400" dirty="0"/>
          </a:p>
          <a:p>
            <a:r>
              <a:rPr lang="en-US" sz="1200" dirty="0"/>
              <a:t>- cost (monetary and resources) associated change </a:t>
            </a:r>
            <a:br>
              <a:rPr lang="en-US" sz="1200" dirty="0"/>
            </a:br>
            <a:r>
              <a:rPr lang="en-US" sz="1200" dirty="0"/>
              <a:t>- grade of re-use of components</a:t>
            </a:r>
            <a:endParaRPr lang="en-US" sz="1400" dirty="0"/>
          </a:p>
        </p:txBody>
      </p:sp>
      <p:sp>
        <p:nvSpPr>
          <p:cNvPr id="3" name="Geschweifte Klammer rechts 2">
            <a:extLst>
              <a:ext uri="{FF2B5EF4-FFF2-40B4-BE49-F238E27FC236}">
                <a16:creationId xmlns:a16="http://schemas.microsoft.com/office/drawing/2014/main" id="{E937B544-0255-41D7-A88E-A1005A155139}"/>
              </a:ext>
            </a:extLst>
          </p:cNvPr>
          <p:cNvSpPr/>
          <p:nvPr/>
        </p:nvSpPr>
        <p:spPr>
          <a:xfrm>
            <a:off x="7682022" y="4751148"/>
            <a:ext cx="259172" cy="1820188"/>
          </a:xfrm>
          <a:prstGeom prst="rightBrace">
            <a:avLst>
              <a:gd name="adj1" fmla="val 35099"/>
              <a:gd name="adj2" fmla="val 50000"/>
            </a:avLst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C63553A9-6017-4EF9-9DE9-F178E9C982A1}"/>
              </a:ext>
            </a:extLst>
          </p:cNvPr>
          <p:cNvSpPr/>
          <p:nvPr/>
        </p:nvSpPr>
        <p:spPr>
          <a:xfrm>
            <a:off x="7914451" y="3150850"/>
            <a:ext cx="346600" cy="346600"/>
          </a:xfrm>
          <a:prstGeom prst="ellipse">
            <a:avLst/>
          </a:prstGeom>
          <a:solidFill>
            <a:schemeClr val="bg2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100" b="1"/>
              <a:t>WP3</a:t>
            </a:r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5B787DEB-6102-4690-9255-35937DA6EA52}"/>
              </a:ext>
            </a:extLst>
          </p:cNvPr>
          <p:cNvSpPr/>
          <p:nvPr/>
        </p:nvSpPr>
        <p:spPr>
          <a:xfrm>
            <a:off x="7845247" y="1822534"/>
            <a:ext cx="346600" cy="346600"/>
          </a:xfrm>
          <a:prstGeom prst="ellipse">
            <a:avLst/>
          </a:prstGeom>
          <a:solidFill>
            <a:schemeClr val="bg2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100" b="1" dirty="0"/>
              <a:t>WP4</a:t>
            </a:r>
          </a:p>
        </p:txBody>
      </p:sp>
    </p:spTree>
    <p:extLst>
      <p:ext uri="{BB962C8B-B14F-4D97-AF65-F5344CB8AC3E}">
        <p14:creationId xmlns:p14="http://schemas.microsoft.com/office/powerpoint/2010/main" val="10432922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0327FF2-3E37-4D3B-8E43-751856409B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hree focus topics for special-purpose functionality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924DE53-85AE-472B-8AA0-203C39FCFA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Ultra-flexible resource allocation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r>
              <a:rPr lang="en-US" b="1" dirty="0"/>
              <a:t>Dependability in I4.0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r>
              <a:rPr lang="en-US" b="1" dirty="0"/>
              <a:t>HMIs and digital twins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C1D5E4C6-4EE3-4078-8044-0EC1604F432A}"/>
              </a:ext>
            </a:extLst>
          </p:cNvPr>
          <p:cNvSpPr/>
          <p:nvPr/>
        </p:nvSpPr>
        <p:spPr>
          <a:xfrm>
            <a:off x="462646" y="1473253"/>
            <a:ext cx="11432963" cy="1016949"/>
          </a:xfrm>
          <a:prstGeom prst="roundRect">
            <a:avLst/>
          </a:prstGeom>
          <a:solidFill>
            <a:schemeClr val="tx1">
              <a:lumMod val="85000"/>
            </a:schemeClr>
          </a:solidFill>
          <a:ln w="12700"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2340000" rtlCol="0" anchor="ctr"/>
          <a:lstStyle/>
          <a:p>
            <a:r>
              <a:rPr lang="en-US" b="1" dirty="0">
                <a:solidFill>
                  <a:schemeClr val="bg1"/>
                </a:solidFill>
              </a:rPr>
              <a:t>Ultra-flexible resource allocation </a:t>
            </a:r>
            <a:r>
              <a:rPr lang="en-US" dirty="0">
                <a:solidFill>
                  <a:schemeClr val="bg1"/>
                </a:solidFill>
              </a:rPr>
              <a:t>procedures in </a:t>
            </a:r>
            <a:r>
              <a:rPr lang="en-US" b="1" dirty="0">
                <a:solidFill>
                  <a:schemeClr val="bg1"/>
                </a:solidFill>
              </a:rPr>
              <a:t>challenging environments </a:t>
            </a:r>
            <a:r>
              <a:rPr lang="en-US" dirty="0">
                <a:solidFill>
                  <a:schemeClr val="bg1"/>
                </a:solidFill>
              </a:rPr>
              <a:t>such as those populated by mobile devices with special requirements and in need of coverage.</a:t>
            </a: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9D86DC7E-3EBB-4BA7-A284-3DF6DD1939D8}"/>
              </a:ext>
            </a:extLst>
          </p:cNvPr>
          <p:cNvSpPr/>
          <p:nvPr/>
        </p:nvSpPr>
        <p:spPr>
          <a:xfrm>
            <a:off x="462645" y="3215552"/>
            <a:ext cx="11432963" cy="1000902"/>
          </a:xfrm>
          <a:prstGeom prst="roundRect">
            <a:avLst/>
          </a:prstGeom>
          <a:solidFill>
            <a:schemeClr val="tx1">
              <a:lumMod val="85000"/>
            </a:schemeClr>
          </a:solidFill>
          <a:ln w="12700"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2232000" rtlCol="0" anchor="ctr"/>
          <a:lstStyle/>
          <a:p>
            <a:r>
              <a:rPr lang="en-US" dirty="0">
                <a:solidFill>
                  <a:schemeClr val="bg1"/>
                </a:solidFill>
              </a:rPr>
              <a:t>Mechanisms and enablers for </a:t>
            </a:r>
            <a:r>
              <a:rPr lang="en-US" b="1" dirty="0">
                <a:solidFill>
                  <a:schemeClr val="bg1"/>
                </a:solidFill>
              </a:rPr>
              <a:t>high dependability </a:t>
            </a:r>
            <a:r>
              <a:rPr lang="en-US" dirty="0">
                <a:solidFill>
                  <a:schemeClr val="bg1"/>
                </a:solidFill>
              </a:rPr>
              <a:t>in vertical scenarios, enabling efficient resource support of complex and dynamically changing availability requirements.</a:t>
            </a:r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2103D4D1-7EDE-42DA-825C-09EC4754E3AB}"/>
              </a:ext>
            </a:extLst>
          </p:cNvPr>
          <p:cNvSpPr/>
          <p:nvPr/>
        </p:nvSpPr>
        <p:spPr>
          <a:xfrm>
            <a:off x="462644" y="4941804"/>
            <a:ext cx="11432964" cy="1000902"/>
          </a:xfrm>
          <a:prstGeom prst="roundRect">
            <a:avLst/>
          </a:prstGeom>
          <a:solidFill>
            <a:schemeClr val="tx1">
              <a:lumMod val="85000"/>
            </a:schemeClr>
          </a:solidFill>
          <a:ln w="12700"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2268000" rtlCol="0" anchor="ctr"/>
          <a:lstStyle/>
          <a:p>
            <a:r>
              <a:rPr lang="en-US" dirty="0">
                <a:solidFill>
                  <a:schemeClr val="bg1"/>
                </a:solidFill>
              </a:rPr>
              <a:t>Convergence of the biological, digital and physical worlds with human interaction through </a:t>
            </a:r>
            <a:r>
              <a:rPr lang="en-US" b="1" dirty="0">
                <a:solidFill>
                  <a:schemeClr val="bg1"/>
                </a:solidFill>
              </a:rPr>
              <a:t>novel HMI </a:t>
            </a:r>
            <a:r>
              <a:rPr lang="en-US" dirty="0">
                <a:solidFill>
                  <a:schemeClr val="bg1"/>
                </a:solidFill>
              </a:rPr>
              <a:t>concepts and a </a:t>
            </a:r>
            <a:r>
              <a:rPr lang="en-US" b="1" dirty="0">
                <a:solidFill>
                  <a:schemeClr val="bg1"/>
                </a:solidFill>
              </a:rPr>
              <a:t>privacy-preserving high-availability Digital Twin</a:t>
            </a:r>
            <a:r>
              <a:rPr lang="en-US" dirty="0">
                <a:solidFill>
                  <a:schemeClr val="bg1"/>
                </a:solidFill>
              </a:rPr>
              <a:t>.</a:t>
            </a:r>
          </a:p>
        </p:txBody>
      </p:sp>
      <p:pic>
        <p:nvPicPr>
          <p:cNvPr id="8" name="Grafik 7" descr="Schild Häkchen mit einfarbiger Füllung">
            <a:extLst>
              <a:ext uri="{FF2B5EF4-FFF2-40B4-BE49-F238E27FC236}">
                <a16:creationId xmlns:a16="http://schemas.microsoft.com/office/drawing/2014/main" id="{CAF88944-0BE4-46D7-8BA9-F39E25ED910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646980" y="2935026"/>
            <a:ext cx="1619915" cy="1619915"/>
          </a:xfrm>
          <a:prstGeom prst="rect">
            <a:avLst/>
          </a:prstGeom>
        </p:spPr>
      </p:pic>
      <p:pic>
        <p:nvPicPr>
          <p:cNvPr id="15" name="Grafik 14" descr="Künstliche Intelligenz mit einfarbiger Füllung">
            <a:extLst>
              <a:ext uri="{FF2B5EF4-FFF2-40B4-BE49-F238E27FC236}">
                <a16:creationId xmlns:a16="http://schemas.microsoft.com/office/drawing/2014/main" id="{CB856532-4392-45D6-A260-BE2C0178A47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10723029" y="4917616"/>
            <a:ext cx="1217066" cy="1217066"/>
          </a:xfrm>
          <a:prstGeom prst="rect">
            <a:avLst/>
          </a:prstGeom>
        </p:spPr>
      </p:pic>
      <p:pic>
        <p:nvPicPr>
          <p:cNvPr id="17" name="Grafik 16" descr="Roboterhand mit einfarbiger Füllung">
            <a:extLst>
              <a:ext uri="{FF2B5EF4-FFF2-40B4-BE49-F238E27FC236}">
                <a16:creationId xmlns:a16="http://schemas.microsoft.com/office/drawing/2014/main" id="{A2203BC4-E5DA-44D1-BC72-0AD42B3DD0E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>
            <a:off x="9656637" y="5050072"/>
            <a:ext cx="1338773" cy="1338773"/>
          </a:xfrm>
          <a:prstGeom prst="rect">
            <a:avLst/>
          </a:prstGeom>
        </p:spPr>
      </p:pic>
      <p:pic>
        <p:nvPicPr>
          <p:cNvPr id="19" name="Grafik 18" descr="Stoppuhr 75% mit einfarbiger Füllung">
            <a:extLst>
              <a:ext uri="{FF2B5EF4-FFF2-40B4-BE49-F238E27FC236}">
                <a16:creationId xmlns:a16="http://schemas.microsoft.com/office/drawing/2014/main" id="{E863EAEE-581F-4296-98FE-044FADD571C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69863" y="3494842"/>
            <a:ext cx="1106424" cy="1106424"/>
          </a:xfrm>
          <a:prstGeom prst="rect">
            <a:avLst/>
          </a:prstGeom>
        </p:spPr>
      </p:pic>
      <p:pic>
        <p:nvPicPr>
          <p:cNvPr id="23" name="Grafik 22" descr="Ratlos mit einfarbiger Füllung">
            <a:extLst>
              <a:ext uri="{FF2B5EF4-FFF2-40B4-BE49-F238E27FC236}">
                <a16:creationId xmlns:a16="http://schemas.microsoft.com/office/drawing/2014/main" id="{359B189C-E0FA-44E9-B408-AFAB7C1C326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720179" y="941680"/>
            <a:ext cx="2156108" cy="2156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93032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10AC87DE-C6B7-414B-88A9-B8C454384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tails on use cases and requirements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C8FA562-31E5-409B-A3FF-D375F1F0AA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Collaborating robots, DTs for manufacturing, telepresence, earth monitor, autonomous supply chains, immersive smart cities, and IoT micro-networks for smart cities</a:t>
            </a:r>
          </a:p>
        </p:txBody>
      </p:sp>
    </p:spTree>
    <p:extLst>
      <p:ext uri="{BB962C8B-B14F-4D97-AF65-F5344CB8AC3E}">
        <p14:creationId xmlns:p14="http://schemas.microsoft.com/office/powerpoint/2010/main" val="7194116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ENTATION_LANGUAGE" val="1033"/>
</p:tagLst>
</file>

<file path=ppt/theme/theme1.xml><?xml version="1.0" encoding="utf-8"?>
<a:theme xmlns:a="http://schemas.openxmlformats.org/drawingml/2006/main" name="Office Theme">
  <a:themeElements>
    <a:clrScheme name="Hexa-X colors master">
      <a:dk1>
        <a:srgbClr val="001035"/>
      </a:dk1>
      <a:lt1>
        <a:srgbClr val="FFFFFF"/>
      </a:lt1>
      <a:dk2>
        <a:srgbClr val="001034"/>
      </a:dk2>
      <a:lt2>
        <a:srgbClr val="FEFFFF"/>
      </a:lt2>
      <a:accent1>
        <a:srgbClr val="E1698A"/>
      </a:accent1>
      <a:accent2>
        <a:srgbClr val="006AB5"/>
      </a:accent2>
      <a:accent3>
        <a:srgbClr val="BA61A4"/>
      </a:accent3>
      <a:accent4>
        <a:srgbClr val="00B9F0"/>
      </a:accent4>
      <a:accent5>
        <a:srgbClr val="E88065"/>
      </a:accent5>
      <a:accent6>
        <a:srgbClr val="D0CF74"/>
      </a:accent6>
      <a:hlink>
        <a:srgbClr val="E1698A"/>
      </a:hlink>
      <a:folHlink>
        <a:srgbClr val="E1698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lank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R_OBS-template_external.potx" id="{8E63A4C0-0D5B-4AB0-9B17-28650E3A1109}" vid="{213D95EF-7056-43E0-9767-0E799F78892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SharedContentType xmlns="Microsoft.SharePoint.Taxonomy.ContentTypeSync" SourceId="34c87397-5fc1-491e-85e7-d6110dbe9cbd" ContentTypeId="0x0101" PreviousValue="false"/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HideFromDelve xmlns="71c5aaf6-e6ce-465b-b873-5148d2a4c105">false</HideFromDelve>
    <_dlc_DocId xmlns="71c5aaf6-e6ce-465b-b873-5148d2a4c105">3QI2P2BIRO3N-1678536968-3984</_dlc_DocId>
    <_dlc_DocIdUrl xmlns="71c5aaf6-e6ce-465b-b873-5148d2a4c105">
      <Url>https://nokia.sharepoint.com/sites/EUICT-52-2020flagship/_layouts/15/DocIdRedir.aspx?ID=3QI2P2BIRO3N-1678536968-3984</Url>
      <Description>3QI2P2BIRO3N-1678536968-3984</Description>
    </_dlc_DocIdUrl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595AA94C00389499DECB9990CCB70D5" ma:contentTypeVersion="8" ma:contentTypeDescription="Create a new document." ma:contentTypeScope="" ma:versionID="e016f076657a90350d450ed89e09b7ad">
  <xsd:schema xmlns:xsd="http://www.w3.org/2001/XMLSchema" xmlns:xs="http://www.w3.org/2001/XMLSchema" xmlns:p="http://schemas.microsoft.com/office/2006/metadata/properties" xmlns:ns2="71c5aaf6-e6ce-465b-b873-5148d2a4c105" targetNamespace="http://schemas.microsoft.com/office/2006/metadata/properties" ma:root="true" ma:fieldsID="b7463fbabe20ab3bba169bffbf1aa2a9" ns2:_="">
    <xsd:import namespace="71c5aaf6-e6ce-465b-b873-5148d2a4c10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HideFromDelv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c5aaf6-e6ce-465b-b873-5148d2a4c105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HideFromDelve" ma:index="11" nillable="true" ma:displayName="HideFromDelve" ma:default="0" ma:internalName="HideFromDelv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D94475B-89AC-4FC0-A7ED-C7882AE3B6CC}">
  <ds:schemaRefs>
    <ds:schemaRef ds:uri="Microsoft.SharePoint.Taxonomy.ContentTypeSync"/>
  </ds:schemaRefs>
</ds:datastoreItem>
</file>

<file path=customXml/itemProps2.xml><?xml version="1.0" encoding="utf-8"?>
<ds:datastoreItem xmlns:ds="http://schemas.openxmlformats.org/officeDocument/2006/customXml" ds:itemID="{9EE8BD45-934D-4B82-8909-2C7B3EB00318}">
  <ds:schemaRefs>
    <ds:schemaRef ds:uri="http://purl.org/dc/dcmitype/"/>
    <ds:schemaRef ds:uri="http://purl.org/dc/elements/1.1/"/>
    <ds:schemaRef ds:uri="http://purl.org/dc/terms/"/>
    <ds:schemaRef ds:uri="http://schemas.microsoft.com/office/2006/metadata/properties"/>
    <ds:schemaRef ds:uri="71c5aaf6-e6ce-465b-b873-5148d2a4c105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39F31F33-35A6-4741-95BB-2E2191ABDD7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c5aaf6-e6ce-465b-b873-5148d2a4c10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096A9418-18B5-4348-9DEF-D0E89A112F84}">
  <ds:schemaRefs>
    <ds:schemaRef ds:uri="http://schemas.microsoft.com/sharepoint/events"/>
  </ds:schemaRefs>
</ds:datastoreItem>
</file>

<file path=customXml/itemProps5.xml><?xml version="1.0" encoding="utf-8"?>
<ds:datastoreItem xmlns:ds="http://schemas.openxmlformats.org/officeDocument/2006/customXml" ds:itemID="{77634AD4-0140-41B1-A71E-FC414B5DCC4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580</Words>
  <Application>Microsoft Office PowerPoint</Application>
  <PresentationFormat>Breitbild</PresentationFormat>
  <Paragraphs>274</Paragraphs>
  <Slides>22</Slides>
  <Notes>9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22</vt:i4>
      </vt:variant>
    </vt:vector>
  </HeadingPairs>
  <TitlesOfParts>
    <vt:vector size="32" baseType="lpstr">
      <vt:lpstr>Helvetica 55 Roman</vt:lpstr>
      <vt:lpstr>Helvetica 75 Bold</vt:lpstr>
      <vt:lpstr>Arial</vt:lpstr>
      <vt:lpstr>Calibri</vt:lpstr>
      <vt:lpstr>Courier New</vt:lpstr>
      <vt:lpstr>Times New Roman</vt:lpstr>
      <vt:lpstr>Trebuchet MS</vt:lpstr>
      <vt:lpstr>Wingdings</vt:lpstr>
      <vt:lpstr>Office Theme</vt:lpstr>
      <vt:lpstr>blank</vt:lpstr>
      <vt:lpstr>Special-Purpose Functionalities: Intermediate Solutions </vt:lpstr>
      <vt:lpstr>Hexa-X:   A flagship EU B5G/6G project</vt:lpstr>
      <vt:lpstr>Working Package 7: Mission and scope </vt:lpstr>
      <vt:lpstr>Core use cases</vt:lpstr>
      <vt:lpstr>Hexa-X use cases including additional telepresence use cases considered in WP7</vt:lpstr>
      <vt:lpstr>WP7 selected use cases  targeting dependability and sustainable coverage</vt:lpstr>
      <vt:lpstr>Focus on dependability and sustainable coverage</vt:lpstr>
      <vt:lpstr>Three focus topics for special-purpose functionality</vt:lpstr>
      <vt:lpstr>Details on use cases and requirements</vt:lpstr>
      <vt:lpstr>Collaborating robots</vt:lpstr>
      <vt:lpstr>Digital twins for  manufacturing</vt:lpstr>
      <vt:lpstr>Telepresence</vt:lpstr>
      <vt:lpstr>Earth monitor Autonom. supply chains</vt:lpstr>
      <vt:lpstr>Immersive smart  cities</vt:lpstr>
      <vt:lpstr>Intermediate solutions</vt:lpstr>
      <vt:lpstr>Overview</vt:lpstr>
      <vt:lpstr>Enablers for ultra-flexible resource allocation</vt:lpstr>
      <vt:lpstr>Enablers for dependability in I4.0</vt:lpstr>
      <vt:lpstr>Enablers for dependability in I4.0</vt:lpstr>
      <vt:lpstr>HMIs and digital twins</vt:lpstr>
      <vt:lpstr>PowerPoint-Präsentation</vt:lpstr>
      <vt:lpstr>HMIs and digital twi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llamaari Syrjä</dc:creator>
  <cp:lastModifiedBy>Bin Han</cp:lastModifiedBy>
  <cp:revision>16</cp:revision>
  <dcterms:created xsi:type="dcterms:W3CDTF">2020-04-20T12:29:59Z</dcterms:created>
  <dcterms:modified xsi:type="dcterms:W3CDTF">2022-09-09T08:09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595AA94C00389499DECB9990CCB70D5</vt:lpwstr>
  </property>
  <property fmtid="{D5CDD505-2E9C-101B-9397-08002B2CF9AE}" pid="3" name="_dlc_DocIdItemGuid">
    <vt:lpwstr>1d5797d6-f097-4a19-9e38-71238b43703f</vt:lpwstr>
  </property>
  <property fmtid="{D5CDD505-2E9C-101B-9397-08002B2CF9AE}" pid="4" name="MSIP_Label_a59b6cd5-d141-4a33-8bf1-0ca04484304f_Enabled">
    <vt:lpwstr>true</vt:lpwstr>
  </property>
  <property fmtid="{D5CDD505-2E9C-101B-9397-08002B2CF9AE}" pid="5" name="MSIP_Label_a59b6cd5-d141-4a33-8bf1-0ca04484304f_SetDate">
    <vt:lpwstr>2022-02-08T12:44:00Z</vt:lpwstr>
  </property>
  <property fmtid="{D5CDD505-2E9C-101B-9397-08002B2CF9AE}" pid="6" name="MSIP_Label_a59b6cd5-d141-4a33-8bf1-0ca04484304f_Method">
    <vt:lpwstr>Standard</vt:lpwstr>
  </property>
  <property fmtid="{D5CDD505-2E9C-101B-9397-08002B2CF9AE}" pid="7" name="MSIP_Label_a59b6cd5-d141-4a33-8bf1-0ca04484304f_Name">
    <vt:lpwstr>restricted-default</vt:lpwstr>
  </property>
  <property fmtid="{D5CDD505-2E9C-101B-9397-08002B2CF9AE}" pid="8" name="MSIP_Label_a59b6cd5-d141-4a33-8bf1-0ca04484304f_SiteId">
    <vt:lpwstr>38ae3bcd-9579-4fd4-adda-b42e1495d55a</vt:lpwstr>
  </property>
  <property fmtid="{D5CDD505-2E9C-101B-9397-08002B2CF9AE}" pid="9" name="MSIP_Label_a59b6cd5-d141-4a33-8bf1-0ca04484304f_ActionId">
    <vt:lpwstr>9bd757f7-fc17-4f25-aaca-17c5b58dd151</vt:lpwstr>
  </property>
  <property fmtid="{D5CDD505-2E9C-101B-9397-08002B2CF9AE}" pid="10" name="MSIP_Label_a59b6cd5-d141-4a33-8bf1-0ca04484304f_ContentBits">
    <vt:lpwstr>0</vt:lpwstr>
  </property>
  <property fmtid="{D5CDD505-2E9C-101B-9397-08002B2CF9AE}" pid="11" name="Document_Confidentiality">
    <vt:lpwstr>Restricted</vt:lpwstr>
  </property>
</Properties>
</file>